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6" r:id="rId1"/>
    <p:sldMasterId id="2147483710" r:id="rId2"/>
  </p:sldMasterIdLst>
  <p:notesMasterIdLst>
    <p:notesMasterId r:id="rId15"/>
  </p:notesMasterIdLst>
  <p:sldIdLst>
    <p:sldId id="284" r:id="rId3"/>
    <p:sldId id="305" r:id="rId4"/>
    <p:sldId id="301" r:id="rId5"/>
    <p:sldId id="268" r:id="rId6"/>
    <p:sldId id="299" r:id="rId7"/>
    <p:sldId id="298" r:id="rId8"/>
    <p:sldId id="300" r:id="rId9"/>
    <p:sldId id="291" r:id="rId10"/>
    <p:sldId id="273" r:id="rId11"/>
    <p:sldId id="304" r:id="rId12"/>
    <p:sldId id="307" r:id="rId13"/>
    <p:sldId id="309" r:id="rId14"/>
  </p:sldIdLst>
  <p:sldSz cx="9144000" cy="5143500" type="screen16x9"/>
  <p:notesSz cx="6724650" cy="9774238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1937"/>
    <a:srgbClr val="373F3A"/>
    <a:srgbClr val="128EC6"/>
    <a:srgbClr val="4682B8"/>
    <a:srgbClr val="5E92C2"/>
    <a:srgbClr val="6095C0"/>
    <a:srgbClr val="0B5677"/>
    <a:srgbClr val="6882A2"/>
    <a:srgbClr val="8DA1B9"/>
    <a:srgbClr val="0A0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01" autoAdjust="0"/>
    <p:restoredTop sz="94857" autoAdjust="0"/>
  </p:normalViewPr>
  <p:slideViewPr>
    <p:cSldViewPr>
      <p:cViewPr>
        <p:scale>
          <a:sx n="110" d="100"/>
          <a:sy n="110" d="100"/>
        </p:scale>
        <p:origin x="-1872" y="-7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88AE6-0849-458B-B9BC-0CB3BD79B5BD}" type="datetimeFigureOut">
              <a:rPr lang="ru-RU" smtClean="0"/>
              <a:t>08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3425"/>
            <a:ext cx="65151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28383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9079" y="928383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29BAB3-D36D-4BF5-8C32-DEB0AAFF19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5883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4788" y="819150"/>
            <a:ext cx="6302375" cy="3546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0112" y="5221873"/>
            <a:ext cx="5683676" cy="2423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873" fontAlgn="base">
              <a:spcBef>
                <a:spcPct val="0"/>
              </a:spcBef>
              <a:spcAft>
                <a:spcPct val="0"/>
              </a:spcAft>
              <a:defRPr/>
            </a:pPr>
            <a:fld id="{3C3A632B-FBDE-46D4-BF6F-6D14421E6342}" type="slidenum">
              <a:rPr lang="en-US" sz="1100">
                <a:solidFill>
                  <a:srgbClr val="000000"/>
                </a:solidFill>
                <a:latin typeface="Arial" charset="0"/>
              </a:rPr>
              <a:pPr defTabSz="901873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sz="11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0990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26083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26083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536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4788" y="819150"/>
            <a:ext cx="6302375" cy="3546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0112" y="5221873"/>
            <a:ext cx="5683676" cy="2423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873" fontAlgn="base">
              <a:spcBef>
                <a:spcPct val="0"/>
              </a:spcBef>
              <a:spcAft>
                <a:spcPct val="0"/>
              </a:spcAft>
              <a:defRPr/>
            </a:pPr>
            <a:fld id="{3C3A632B-FBDE-46D4-BF6F-6D14421E6342}" type="slidenum">
              <a:rPr lang="en-US" sz="1100">
                <a:solidFill>
                  <a:srgbClr val="000000"/>
                </a:solidFill>
                <a:latin typeface="Arial" charset="0"/>
              </a:rPr>
              <a:pPr defTabSz="901873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z="11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099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979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9797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979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9797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9797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9BAB3-D36D-4BF5-8C32-DEB0AAFF1934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2608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5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5.emf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2900190"/>
            <a:ext cx="9144000" cy="224331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290019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1989233"/>
            <a:ext cx="9144000" cy="1714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200150"/>
            <a:ext cx="9144000" cy="382905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3789413"/>
            <a:ext cx="5637010" cy="66158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EC018-C08B-42AA-B9AF-3CA15B15D344}" type="datetime1">
              <a:rPr lang="ru-RU" smtClean="0"/>
              <a:t>08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2349222"/>
            <a:ext cx="7175351" cy="1344875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548639"/>
            <a:ext cx="6400800" cy="260604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075B1-B669-49C8-AAF3-EAA0DCC9C8D8}" type="datetime1">
              <a:rPr lang="ru-RU" smtClean="0"/>
              <a:t>08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282388"/>
            <a:ext cx="2057400" cy="3928754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548639"/>
            <a:ext cx="4829287" cy="367104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FF407-732E-409E-B95F-24B1056BFB79}" type="datetime1">
              <a:rPr lang="ru-RU" smtClean="0"/>
              <a:t>08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739040" y="4981295"/>
            <a:ext cx="92974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99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l" defTabSz="6997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876519" y="4981295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9135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8002670" y="38875"/>
            <a:ext cx="892589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94920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DE647FB5-0719-4FAB-817E-3378F99E43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1483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b="1" dirty="0" err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DBB6850-8D3B-495C-B4A3-61AF8A18DD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4000" cy="51435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E118881C-3631-435D-87FC-B76BA52BE0BD}"/>
              </a:ext>
            </a:extLst>
          </p:cNvPr>
          <p:cNvSpPr>
            <a:spLocks/>
          </p:cNvSpPr>
          <p:nvPr userDrawn="1"/>
        </p:nvSpPr>
        <p:spPr>
          <a:xfrm>
            <a:off x="-2" y="-1"/>
            <a:ext cx="9144003" cy="5143500"/>
          </a:xfrm>
          <a:prstGeom prst="rect">
            <a:avLst/>
          </a:prstGeom>
          <a:gradFill flip="none" rotWithShape="1">
            <a:gsLst>
              <a:gs pos="100000">
                <a:schemeClr val="accent3">
                  <a:lumMod val="50000"/>
                  <a:alpha val="25000"/>
                </a:schemeClr>
              </a:gs>
              <a:gs pos="1000">
                <a:schemeClr val="accent4">
                  <a:alpha val="90000"/>
                </a:schemeClr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err="1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615933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9972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83" y="4785837"/>
            <a:ext cx="6753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9972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8" y="4880049"/>
            <a:ext cx="29410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9972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</a:rPr>
              <a:t>Last Modified 16.12.2019 23:00 Russia TZ 2 Standard Time</a:t>
            </a:r>
            <a:endParaRPr lang="ru-RU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84" y="4974256"/>
            <a:ext cx="27142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9972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</a:rPr>
              <a:t>Printed 08.08.2019 14:00 Russia TZ 2 Standard Time</a:t>
            </a:r>
            <a:endParaRPr lang="ru-RU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5" y="2738301"/>
            <a:ext cx="635861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9972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FFFFFF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2128471" y="4785838"/>
            <a:ext cx="3918450" cy="29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124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>
                <a:solidFill>
                  <a:srgbClr val="FFFFFF"/>
                </a:solidFill>
              </a:rPr>
              <a:t>КОНФИДЕНЦИАЛЬНАЯ ИНФОРМАЦИЯ</a:t>
            </a:r>
          </a:p>
          <a:p>
            <a:pPr defTabSz="82124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>
                <a:solidFill>
                  <a:srgbClr val="FFFFFF"/>
                </a:solidFill>
              </a:rPr>
              <a:t>Любое использование этого документа без специального разрешения строго запрещено</a:t>
            </a:r>
            <a:endParaRPr lang="ru-RU" sz="600" dirty="0">
              <a:solidFill>
                <a:srgbClr val="FFFFFF"/>
              </a:solidFill>
            </a:endParaRPr>
          </a:p>
        </p:txBody>
      </p:sp>
      <p:grpSp>
        <p:nvGrpSpPr>
          <p:cNvPr id="14" name="LogoImage" hidden="1">
            <a:extLst>
              <a:ext uri="{FF2B5EF4-FFF2-40B4-BE49-F238E27FC236}">
                <a16:creationId xmlns:a16="http://schemas.microsoft.com/office/drawing/2014/main" xmlns="" id="{CF9EF921-9FC5-42B8-99C2-7B63BCC217DA}"/>
              </a:ext>
            </a:extLst>
          </p:cNvPr>
          <p:cNvGrpSpPr/>
          <p:nvPr userDrawn="1"/>
        </p:nvGrpSpPr>
        <p:grpSpPr>
          <a:xfrm>
            <a:off x="2317930" y="197599"/>
            <a:ext cx="1306236" cy="415405"/>
            <a:chOff x="3029003" y="258214"/>
            <a:chExt cx="1706951" cy="542847"/>
          </a:xfrm>
        </p:grpSpPr>
        <p:sp>
          <p:nvSpPr>
            <p:cNvPr id="15" name="AutoShape 3" hidden="1">
              <a:extLst>
                <a:ext uri="{FF2B5EF4-FFF2-40B4-BE49-F238E27FC236}">
                  <a16:creationId xmlns:a16="http://schemas.microsoft.com/office/drawing/2014/main" xmlns="" id="{377E2CCF-9E6E-4948-A3F9-B6082FE76F3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029003" y="258214"/>
              <a:ext cx="1706951" cy="542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699722">
                <a:defRPr/>
              </a:pPr>
              <a:endParaRPr lang="ru-RU" sz="1200">
                <a:solidFill>
                  <a:srgbClr val="000000"/>
                </a:solidFill>
                <a:latin typeface="Theinhardt Pan Light" panose="020B0404020101020102" pitchFamily="34" charset="0"/>
              </a:endParaRPr>
            </a:p>
          </p:txBody>
        </p:sp>
        <p:sp>
          <p:nvSpPr>
            <p:cNvPr id="16" name="Freeform 5" hidden="1">
              <a:extLst>
                <a:ext uri="{FF2B5EF4-FFF2-40B4-BE49-F238E27FC236}">
                  <a16:creationId xmlns:a16="http://schemas.microsoft.com/office/drawing/2014/main" xmlns="" id="{94AB1F65-4117-46AA-A186-DB407AF01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29003" y="258443"/>
              <a:ext cx="1706951" cy="542618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699722">
                <a:defRPr/>
              </a:pPr>
              <a:endParaRPr lang="ru-RU" sz="1200">
                <a:solidFill>
                  <a:srgbClr val="000000"/>
                </a:solidFill>
                <a:latin typeface="Theinhardt Pan Light" panose="020B0404020101020102" pitchFamily="34" charset="0"/>
              </a:endParaRPr>
            </a:p>
          </p:txBody>
        </p:sp>
      </p:grpSp>
      <p:sp>
        <p:nvSpPr>
          <p:cNvPr id="21" name="Subtitle">
            <a:extLst>
              <a:ext uri="{FF2B5EF4-FFF2-40B4-BE49-F238E27FC236}">
                <a16:creationId xmlns:a16="http://schemas.microsoft.com/office/drawing/2014/main" xmlns="" id="{0DE7EA42-2923-4339-984E-CB0AFABDFF5E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194179" y="2353624"/>
            <a:ext cx="3734377" cy="16927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100" cap="none" baseline="0">
                <a:solidFill>
                  <a:schemeClr val="accent3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23" name="Title">
            <a:extLst>
              <a:ext uri="{FF2B5EF4-FFF2-40B4-BE49-F238E27FC236}">
                <a16:creationId xmlns:a16="http://schemas.microsoft.com/office/drawing/2014/main" xmlns="" id="{CEED5315-0477-491D-AD2E-2B1B88D2280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194176" y="1173192"/>
            <a:ext cx="6755651" cy="1046440"/>
          </a:xfrm>
          <a:prstGeom prst="rect">
            <a:avLst/>
          </a:prstGeom>
        </p:spPr>
        <p:txBody>
          <a:bodyPr anchor="b" anchorCtr="0"/>
          <a:lstStyle>
            <a:lvl1pPr algn="l">
              <a:defRPr sz="3400" b="1" baseline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lvl="0" latinLnBrk="0"/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54152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739040" y="4981295"/>
            <a:ext cx="92974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99722" fontAlgn="base">
              <a:spcBef>
                <a:spcPct val="0"/>
              </a:spcBef>
              <a:spcAft>
                <a:spcPct val="0"/>
              </a:spcAft>
              <a:defRPr/>
            </a:pPr>
            <a:fld id="{42C328C1-A84F-4A39-A664-DBA00541A8C6}" type="slidenum">
              <a:rPr lang="ru-RU" sz="600" smtClean="0">
                <a:solidFill>
                  <a:srgbClr val="80808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600" dirty="0">
              <a:solidFill>
                <a:srgbClr val="80808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876519" y="4981295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8002670" y="38875"/>
            <a:ext cx="892589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8647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1B679A6-46C5-4782-9A59-B215CDB3F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Слайд think-cell" r:id="rId6" imgW="386" imgH="386" progId="TCLayout.ActiveDocument.1">
                  <p:embed/>
                </p:oleObj>
              </mc:Choice>
              <mc:Fallback>
                <p:oleObj name="Слайд think-cell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1B679A6-46C5-4782-9A59-B215CDB3F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10F9CEF5-09FA-4596-ADCD-F936C3F24C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1483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 err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0483DC3-8326-4E4F-93A8-CEDFE21F627E}"/>
              </a:ext>
            </a:extLst>
          </p:cNvPr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9144003" cy="5143500"/>
          </a:xfrm>
          <a:prstGeom prst="rect">
            <a:avLst/>
          </a:prstGeom>
          <a:noFill/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14E3DA6C-C416-4BC5-BDC8-BBEEE58BC827}"/>
              </a:ext>
            </a:extLst>
          </p:cNvPr>
          <p:cNvSpPr>
            <a:spLocks/>
          </p:cNvSpPr>
          <p:nvPr userDrawn="1"/>
        </p:nvSpPr>
        <p:spPr>
          <a:xfrm>
            <a:off x="-2" y="-1"/>
            <a:ext cx="9144003" cy="5143500"/>
          </a:xfrm>
          <a:prstGeom prst="rect">
            <a:avLst/>
          </a:prstGeom>
          <a:gradFill flip="none" rotWithShape="1">
            <a:gsLst>
              <a:gs pos="100000">
                <a:schemeClr val="accent3">
                  <a:lumMod val="80000"/>
                  <a:alpha val="51000"/>
                </a:schemeClr>
              </a:gs>
              <a:gs pos="5000">
                <a:schemeClr val="accent4">
                  <a:lumMod val="96000"/>
                </a:schemeClr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739040" y="498129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99722" fontAlgn="base">
              <a:spcBef>
                <a:spcPct val="0"/>
              </a:spcBef>
              <a:spcAft>
                <a:spcPct val="0"/>
              </a:spcAft>
              <a:defRPr/>
            </a:pPr>
            <a:fld id="{42C328C1-A84F-4A39-A664-DBA00541A8C6}" type="slidenum">
              <a:rPr lang="ru-RU" sz="600" smtClean="0">
                <a:solidFill>
                  <a:srgbClr val="FFFFFF"/>
                </a:solidFill>
              </a:rPr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600" dirty="0">
              <a:solidFill>
                <a:srgbClr val="FFFFFF"/>
              </a:solidFill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876519" y="4981295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8002670" y="38875"/>
            <a:ext cx="892589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6740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AB9498A-2245-45E6-9E44-EACFACE769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21483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 err="1">
              <a:solidFill>
                <a:srgbClr val="000000"/>
              </a:solidFill>
              <a:latin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263501" y="187811"/>
            <a:ext cx="6683158" cy="230832"/>
          </a:xfrm>
        </p:spPr>
        <p:txBody>
          <a:bodyPr/>
          <a:lstStyle>
            <a:lvl1pPr>
              <a:defRPr sz="1500" b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50977" y="498129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99722" fontAlgn="base">
              <a:spcBef>
                <a:spcPct val="0"/>
              </a:spcBef>
              <a:spcAft>
                <a:spcPct val="0"/>
              </a:spcAft>
              <a:defRPr/>
            </a:pPr>
            <a:fld id="{42C328C1-A84F-4A39-A664-DBA00541A8C6}" type="slidenum">
              <a:rPr lang="en-US" sz="600" smtClean="0">
                <a:solidFill>
                  <a:srgbClr val="808080"/>
                </a:solidFill>
              </a:rPr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600" dirty="0">
              <a:solidFill>
                <a:srgbClr val="80808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7F3FC24-4C5F-40E1-9903-08024E113BA7}"/>
              </a:ext>
            </a:extLst>
          </p:cNvPr>
          <p:cNvSpPr/>
          <p:nvPr/>
        </p:nvSpPr>
        <p:spPr>
          <a:xfrm flipH="1">
            <a:off x="0" y="121481"/>
            <a:ext cx="2066162" cy="490053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657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AB9498A-2245-45E6-9E44-EACFACE769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21483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 err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7F3FC24-4C5F-40E1-9903-08024E113BA7}"/>
              </a:ext>
            </a:extLst>
          </p:cNvPr>
          <p:cNvSpPr>
            <a:spLocks/>
          </p:cNvSpPr>
          <p:nvPr/>
        </p:nvSpPr>
        <p:spPr>
          <a:xfrm flipH="1">
            <a:off x="121483" y="121480"/>
            <a:ext cx="1868154" cy="490053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err="1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263501" y="187811"/>
            <a:ext cx="6683158" cy="230832"/>
          </a:xfrm>
        </p:spPr>
        <p:txBody>
          <a:bodyPr/>
          <a:lstStyle>
            <a:lvl1pPr>
              <a:defRPr sz="1500" b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50977" y="498129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99722" fontAlgn="base">
              <a:spcBef>
                <a:spcPct val="0"/>
              </a:spcBef>
              <a:spcAft>
                <a:spcPct val="0"/>
              </a:spcAft>
              <a:defRPr/>
            </a:pPr>
            <a:fld id="{42C328C1-A84F-4A39-A664-DBA00541A8C6}" type="slidenum">
              <a:rPr lang="en-US" sz="600" smtClean="0">
                <a:solidFill>
                  <a:srgbClr val="808080"/>
                </a:solidFill>
              </a:rPr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324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1B679A6-46C5-4782-9A59-B215CDB3F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" name="Слайд think-cell" r:id="rId6" imgW="386" imgH="386" progId="TCLayout.ActiveDocument.1">
                  <p:embed/>
                </p:oleObj>
              </mc:Choice>
              <mc:Fallback>
                <p:oleObj name="Слайд think-cell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1B679A6-46C5-4782-9A59-B215CDB3F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10F9CEF5-09FA-4596-ADCD-F936C3F24C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1483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CA61A7-6039-4E57-9EA5-C19EE79CDAAF}"/>
              </a:ext>
            </a:extLst>
          </p:cNvPr>
          <p:cNvSpPr/>
          <p:nvPr userDrawn="1"/>
        </p:nvSpPr>
        <p:spPr>
          <a:xfrm>
            <a:off x="0" y="4"/>
            <a:ext cx="9141234" cy="5140007"/>
          </a:xfrm>
          <a:prstGeom prst="rect">
            <a:avLst/>
          </a:prstGeom>
          <a:gradFill>
            <a:gsLst>
              <a:gs pos="43000">
                <a:schemeClr val="accent2">
                  <a:alpha val="67000"/>
                </a:schemeClr>
              </a:gs>
              <a:gs pos="100000">
                <a:srgbClr val="039EFD"/>
              </a:gs>
            </a:gsLst>
            <a:lin ang="16200000" scaled="1"/>
          </a:gra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739040" y="498129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99722" fontAlgn="base">
              <a:spcBef>
                <a:spcPct val="0"/>
              </a:spcBef>
              <a:spcAft>
                <a:spcPct val="0"/>
              </a:spcAft>
              <a:defRPr/>
            </a:pPr>
            <a:fld id="{42C328C1-A84F-4A39-A664-DBA00541A8C6}" type="slidenum">
              <a:rPr lang="ru-RU" sz="600" smtClean="0">
                <a:solidFill>
                  <a:srgbClr val="FFFFFF"/>
                </a:solidFill>
              </a:rPr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600" dirty="0">
              <a:solidFill>
                <a:srgbClr val="FFFFFF"/>
              </a:solidFill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876519" y="4981295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8002670" y="38875"/>
            <a:ext cx="892589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dirty="0">
              <a:solidFill>
                <a:srgbClr val="80808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267F6FD4-5443-4D85-A2D0-7F1B7FB9CAFE}"/>
              </a:ext>
            </a:extLst>
          </p:cNvPr>
          <p:cNvGrpSpPr/>
          <p:nvPr userDrawn="1"/>
        </p:nvGrpSpPr>
        <p:grpSpPr>
          <a:xfrm>
            <a:off x="1" y="3236823"/>
            <a:ext cx="9144000" cy="1903186"/>
            <a:chOff x="0" y="4229846"/>
            <a:chExt cx="11949113" cy="248706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xmlns="" id="{7093E246-E865-4F41-B679-7E0C3580C4E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0" y="4229846"/>
              <a:ext cx="11949113" cy="2487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AA9B1686-7830-4E2E-A885-99ECB3CFF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5148035"/>
              <a:ext cx="11941883" cy="1304986"/>
            </a:xfrm>
            <a:custGeom>
              <a:avLst/>
              <a:gdLst>
                <a:gd name="T0" fmla="*/ 1705 w 2803"/>
                <a:gd name="T1" fmla="*/ 122 h 305"/>
                <a:gd name="T2" fmla="*/ 1732 w 2803"/>
                <a:gd name="T3" fmla="*/ 138 h 305"/>
                <a:gd name="T4" fmla="*/ 1805 w 2803"/>
                <a:gd name="T5" fmla="*/ 156 h 305"/>
                <a:gd name="T6" fmla="*/ 1912 w 2803"/>
                <a:gd name="T7" fmla="*/ 92 h 305"/>
                <a:gd name="T8" fmla="*/ 1959 w 2803"/>
                <a:gd name="T9" fmla="*/ 156 h 305"/>
                <a:gd name="T10" fmla="*/ 2024 w 2803"/>
                <a:gd name="T11" fmla="*/ 52 h 305"/>
                <a:gd name="T12" fmla="*/ 2066 w 2803"/>
                <a:gd name="T13" fmla="*/ 92 h 305"/>
                <a:gd name="T14" fmla="*/ 2119 w 2803"/>
                <a:gd name="T15" fmla="*/ 34 h 305"/>
                <a:gd name="T16" fmla="*/ 2149 w 2803"/>
                <a:gd name="T17" fmla="*/ 195 h 305"/>
                <a:gd name="T18" fmla="*/ 2195 w 2803"/>
                <a:gd name="T19" fmla="*/ 100 h 305"/>
                <a:gd name="T20" fmla="*/ 2211 w 2803"/>
                <a:gd name="T21" fmla="*/ 96 h 305"/>
                <a:gd name="T22" fmla="*/ 2262 w 2803"/>
                <a:gd name="T23" fmla="*/ 163 h 305"/>
                <a:gd name="T24" fmla="*/ 2266 w 2803"/>
                <a:gd name="T25" fmla="*/ 118 h 305"/>
                <a:gd name="T26" fmla="*/ 2316 w 2803"/>
                <a:gd name="T27" fmla="*/ 52 h 305"/>
                <a:gd name="T28" fmla="*/ 2387 w 2803"/>
                <a:gd name="T29" fmla="*/ 179 h 305"/>
                <a:gd name="T30" fmla="*/ 2413 w 2803"/>
                <a:gd name="T31" fmla="*/ 124 h 305"/>
                <a:gd name="T32" fmla="*/ 2455 w 2803"/>
                <a:gd name="T33" fmla="*/ 132 h 305"/>
                <a:gd name="T34" fmla="*/ 2515 w 2803"/>
                <a:gd name="T35" fmla="*/ 68 h 305"/>
                <a:gd name="T36" fmla="*/ 2572 w 2803"/>
                <a:gd name="T37" fmla="*/ 148 h 305"/>
                <a:gd name="T38" fmla="*/ 2625 w 2803"/>
                <a:gd name="T39" fmla="*/ 116 h 305"/>
                <a:gd name="T40" fmla="*/ 2670 w 2803"/>
                <a:gd name="T41" fmla="*/ 45 h 305"/>
                <a:gd name="T42" fmla="*/ 2719 w 2803"/>
                <a:gd name="T43" fmla="*/ 77 h 305"/>
                <a:gd name="T44" fmla="*/ 2761 w 2803"/>
                <a:gd name="T45" fmla="*/ 163 h 305"/>
                <a:gd name="T46" fmla="*/ 2799 w 2803"/>
                <a:gd name="T47" fmla="*/ 100 h 305"/>
                <a:gd name="T48" fmla="*/ 2149 w 2803"/>
                <a:gd name="T49" fmla="*/ 305 h 305"/>
                <a:gd name="T50" fmla="*/ 46 w 2803"/>
                <a:gd name="T51" fmla="*/ 100 h 305"/>
                <a:gd name="T52" fmla="*/ 104 w 2803"/>
                <a:gd name="T53" fmla="*/ 96 h 305"/>
                <a:gd name="T54" fmla="*/ 117 w 2803"/>
                <a:gd name="T55" fmla="*/ 118 h 305"/>
                <a:gd name="T56" fmla="*/ 167 w 2803"/>
                <a:gd name="T57" fmla="*/ 52 h 305"/>
                <a:gd name="T58" fmla="*/ 238 w 2803"/>
                <a:gd name="T59" fmla="*/ 179 h 305"/>
                <a:gd name="T60" fmla="*/ 264 w 2803"/>
                <a:gd name="T61" fmla="*/ 124 h 305"/>
                <a:gd name="T62" fmla="*/ 306 w 2803"/>
                <a:gd name="T63" fmla="*/ 132 h 305"/>
                <a:gd name="T64" fmla="*/ 366 w 2803"/>
                <a:gd name="T65" fmla="*/ 68 h 305"/>
                <a:gd name="T66" fmla="*/ 423 w 2803"/>
                <a:gd name="T67" fmla="*/ 148 h 305"/>
                <a:gd name="T68" fmla="*/ 476 w 2803"/>
                <a:gd name="T69" fmla="*/ 116 h 305"/>
                <a:gd name="T70" fmla="*/ 521 w 2803"/>
                <a:gd name="T71" fmla="*/ 45 h 305"/>
                <a:gd name="T72" fmla="*/ 570 w 2803"/>
                <a:gd name="T73" fmla="*/ 77 h 305"/>
                <a:gd name="T74" fmla="*/ 612 w 2803"/>
                <a:gd name="T75" fmla="*/ 163 h 305"/>
                <a:gd name="T76" fmla="*/ 650 w 2803"/>
                <a:gd name="T77" fmla="*/ 100 h 305"/>
                <a:gd name="T78" fmla="*/ 670 w 2803"/>
                <a:gd name="T79" fmla="*/ 163 h 305"/>
                <a:gd name="T80" fmla="*/ 697 w 2803"/>
                <a:gd name="T81" fmla="*/ 60 h 305"/>
                <a:gd name="T82" fmla="*/ 734 w 2803"/>
                <a:gd name="T83" fmla="*/ 13 h 305"/>
                <a:gd name="T84" fmla="*/ 768 w 2803"/>
                <a:gd name="T85" fmla="*/ 21 h 305"/>
                <a:gd name="T86" fmla="*/ 874 w 2803"/>
                <a:gd name="T87" fmla="*/ 116 h 305"/>
                <a:gd name="T88" fmla="*/ 921 w 2803"/>
                <a:gd name="T89" fmla="*/ 59 h 305"/>
                <a:gd name="T90" fmla="*/ 1022 w 2803"/>
                <a:gd name="T91" fmla="*/ 26 h 305"/>
                <a:gd name="T92" fmla="*/ 1076 w 2803"/>
                <a:gd name="T93" fmla="*/ 129 h 305"/>
                <a:gd name="T94" fmla="*/ 1097 w 2803"/>
                <a:gd name="T95" fmla="*/ 179 h 305"/>
                <a:gd name="T96" fmla="*/ 1133 w 2803"/>
                <a:gd name="T97" fmla="*/ 66 h 305"/>
                <a:gd name="T98" fmla="*/ 1248 w 2803"/>
                <a:gd name="T99" fmla="*/ 171 h 305"/>
                <a:gd name="T100" fmla="*/ 1319 w 2803"/>
                <a:gd name="T101" fmla="*/ 4 h 305"/>
                <a:gd name="T102" fmla="*/ 1342 w 2803"/>
                <a:gd name="T103" fmla="*/ 163 h 305"/>
                <a:gd name="T104" fmla="*/ 1385 w 2803"/>
                <a:gd name="T105" fmla="*/ 54 h 305"/>
                <a:gd name="T106" fmla="*/ 1399 w 2803"/>
                <a:gd name="T107" fmla="*/ 54 h 305"/>
                <a:gd name="T108" fmla="*/ 1438 w 2803"/>
                <a:gd name="T109" fmla="*/ 83 h 305"/>
                <a:gd name="T110" fmla="*/ 1476 w 2803"/>
                <a:gd name="T111" fmla="*/ 67 h 305"/>
                <a:gd name="T112" fmla="*/ 1497 w 2803"/>
                <a:gd name="T113" fmla="*/ 156 h 305"/>
                <a:gd name="T114" fmla="*/ 1549 w 2803"/>
                <a:gd name="T115" fmla="*/ 108 h 305"/>
                <a:gd name="T116" fmla="*/ 1600 w 2803"/>
                <a:gd name="T117" fmla="*/ 52 h 305"/>
                <a:gd name="T118" fmla="*/ 1611 w 2803"/>
                <a:gd name="T119" fmla="*/ 52 h 305"/>
                <a:gd name="T120" fmla="*/ 1651 w 2803"/>
                <a:gd name="T121" fmla="*/ 140 h 305"/>
                <a:gd name="T122" fmla="*/ 1672 w 2803"/>
                <a:gd name="T123" fmla="*/ 11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03" h="305">
                  <a:moveTo>
                    <a:pt x="1699" y="113"/>
                  </a:moveTo>
                  <a:cubicBezTo>
                    <a:pt x="1699" y="113"/>
                    <a:pt x="1699" y="113"/>
                    <a:pt x="1699" y="113"/>
                  </a:cubicBezTo>
                  <a:cubicBezTo>
                    <a:pt x="1699" y="122"/>
                    <a:pt x="1699" y="122"/>
                    <a:pt x="1699" y="122"/>
                  </a:cubicBezTo>
                  <a:cubicBezTo>
                    <a:pt x="1705" y="122"/>
                    <a:pt x="1705" y="122"/>
                    <a:pt x="1705" y="122"/>
                  </a:cubicBezTo>
                  <a:cubicBezTo>
                    <a:pt x="1705" y="187"/>
                    <a:pt x="1705" y="187"/>
                    <a:pt x="1705" y="187"/>
                  </a:cubicBezTo>
                  <a:cubicBezTo>
                    <a:pt x="1714" y="187"/>
                    <a:pt x="1714" y="187"/>
                    <a:pt x="1714" y="187"/>
                  </a:cubicBezTo>
                  <a:cubicBezTo>
                    <a:pt x="1714" y="163"/>
                    <a:pt x="1714" y="163"/>
                    <a:pt x="1714" y="163"/>
                  </a:cubicBezTo>
                  <a:cubicBezTo>
                    <a:pt x="1732" y="138"/>
                    <a:pt x="1732" y="138"/>
                    <a:pt x="1732" y="138"/>
                  </a:cubicBezTo>
                  <a:cubicBezTo>
                    <a:pt x="1732" y="76"/>
                    <a:pt x="1732" y="76"/>
                    <a:pt x="1732" y="76"/>
                  </a:cubicBezTo>
                  <a:cubicBezTo>
                    <a:pt x="1774" y="76"/>
                    <a:pt x="1774" y="76"/>
                    <a:pt x="1774" y="76"/>
                  </a:cubicBezTo>
                  <a:cubicBezTo>
                    <a:pt x="1774" y="156"/>
                    <a:pt x="1774" y="156"/>
                    <a:pt x="1774" y="156"/>
                  </a:cubicBezTo>
                  <a:cubicBezTo>
                    <a:pt x="1805" y="156"/>
                    <a:pt x="1805" y="156"/>
                    <a:pt x="1805" y="156"/>
                  </a:cubicBezTo>
                  <a:cubicBezTo>
                    <a:pt x="1805" y="84"/>
                    <a:pt x="1805" y="84"/>
                    <a:pt x="1805" y="84"/>
                  </a:cubicBezTo>
                  <a:cubicBezTo>
                    <a:pt x="1867" y="84"/>
                    <a:pt x="1867" y="84"/>
                    <a:pt x="1867" y="84"/>
                  </a:cubicBezTo>
                  <a:cubicBezTo>
                    <a:pt x="1867" y="92"/>
                    <a:pt x="1867" y="92"/>
                    <a:pt x="1867" y="92"/>
                  </a:cubicBezTo>
                  <a:cubicBezTo>
                    <a:pt x="1912" y="92"/>
                    <a:pt x="1912" y="92"/>
                    <a:pt x="1912" y="92"/>
                  </a:cubicBezTo>
                  <a:cubicBezTo>
                    <a:pt x="1912" y="76"/>
                    <a:pt x="1912" y="76"/>
                    <a:pt x="1912" y="76"/>
                  </a:cubicBezTo>
                  <a:cubicBezTo>
                    <a:pt x="1947" y="76"/>
                    <a:pt x="1947" y="76"/>
                    <a:pt x="1947" y="76"/>
                  </a:cubicBezTo>
                  <a:cubicBezTo>
                    <a:pt x="1947" y="156"/>
                    <a:pt x="1947" y="156"/>
                    <a:pt x="1947" y="156"/>
                  </a:cubicBezTo>
                  <a:cubicBezTo>
                    <a:pt x="1959" y="156"/>
                    <a:pt x="1959" y="156"/>
                    <a:pt x="1959" y="156"/>
                  </a:cubicBezTo>
                  <a:cubicBezTo>
                    <a:pt x="1959" y="84"/>
                    <a:pt x="1959" y="84"/>
                    <a:pt x="1959" y="84"/>
                  </a:cubicBezTo>
                  <a:cubicBezTo>
                    <a:pt x="1987" y="84"/>
                    <a:pt x="1987" y="84"/>
                    <a:pt x="1987" y="84"/>
                  </a:cubicBezTo>
                  <a:cubicBezTo>
                    <a:pt x="1987" y="52"/>
                    <a:pt x="1987" y="52"/>
                    <a:pt x="1987" y="52"/>
                  </a:cubicBezTo>
                  <a:cubicBezTo>
                    <a:pt x="2024" y="52"/>
                    <a:pt x="2024" y="52"/>
                    <a:pt x="2024" y="52"/>
                  </a:cubicBezTo>
                  <a:cubicBezTo>
                    <a:pt x="2024" y="195"/>
                    <a:pt x="2024" y="195"/>
                    <a:pt x="2024" y="195"/>
                  </a:cubicBezTo>
                  <a:cubicBezTo>
                    <a:pt x="2032" y="195"/>
                    <a:pt x="2032" y="195"/>
                    <a:pt x="2032" y="195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66" y="92"/>
                    <a:pt x="2066" y="92"/>
                    <a:pt x="2066" y="92"/>
                  </a:cubicBezTo>
                  <a:cubicBezTo>
                    <a:pt x="2066" y="77"/>
                    <a:pt x="2066" y="77"/>
                    <a:pt x="2066" y="77"/>
                  </a:cubicBezTo>
                  <a:cubicBezTo>
                    <a:pt x="2079" y="77"/>
                    <a:pt x="2079" y="77"/>
                    <a:pt x="2079" y="77"/>
                  </a:cubicBezTo>
                  <a:cubicBezTo>
                    <a:pt x="2079" y="34"/>
                    <a:pt x="2079" y="34"/>
                    <a:pt x="2079" y="34"/>
                  </a:cubicBezTo>
                  <a:cubicBezTo>
                    <a:pt x="2119" y="34"/>
                    <a:pt x="2119" y="34"/>
                    <a:pt x="2119" y="34"/>
                  </a:cubicBezTo>
                  <a:cubicBezTo>
                    <a:pt x="2119" y="108"/>
                    <a:pt x="2119" y="108"/>
                    <a:pt x="2119" y="108"/>
                  </a:cubicBezTo>
                  <a:cubicBezTo>
                    <a:pt x="2144" y="108"/>
                    <a:pt x="2144" y="108"/>
                    <a:pt x="2144" y="108"/>
                  </a:cubicBezTo>
                  <a:cubicBezTo>
                    <a:pt x="2144" y="195"/>
                    <a:pt x="2144" y="195"/>
                    <a:pt x="2144" y="195"/>
                  </a:cubicBezTo>
                  <a:cubicBezTo>
                    <a:pt x="2149" y="195"/>
                    <a:pt x="2149" y="195"/>
                    <a:pt x="2149" y="195"/>
                  </a:cubicBezTo>
                  <a:cubicBezTo>
                    <a:pt x="2149" y="163"/>
                    <a:pt x="2149" y="163"/>
                    <a:pt x="2149" y="163"/>
                  </a:cubicBezTo>
                  <a:cubicBezTo>
                    <a:pt x="2149" y="69"/>
                    <a:pt x="2149" y="69"/>
                    <a:pt x="2149" y="69"/>
                  </a:cubicBezTo>
                  <a:cubicBezTo>
                    <a:pt x="2195" y="69"/>
                    <a:pt x="2195" y="69"/>
                    <a:pt x="2195" y="69"/>
                  </a:cubicBezTo>
                  <a:cubicBezTo>
                    <a:pt x="2195" y="100"/>
                    <a:pt x="2195" y="100"/>
                    <a:pt x="2195" y="100"/>
                  </a:cubicBezTo>
                  <a:cubicBezTo>
                    <a:pt x="2206" y="100"/>
                    <a:pt x="2206" y="100"/>
                    <a:pt x="2206" y="100"/>
                  </a:cubicBezTo>
                  <a:cubicBezTo>
                    <a:pt x="2206" y="106"/>
                    <a:pt x="2206" y="106"/>
                    <a:pt x="2206" y="106"/>
                  </a:cubicBezTo>
                  <a:cubicBezTo>
                    <a:pt x="2211" y="106"/>
                    <a:pt x="2211" y="106"/>
                    <a:pt x="2211" y="106"/>
                  </a:cubicBezTo>
                  <a:cubicBezTo>
                    <a:pt x="2211" y="96"/>
                    <a:pt x="2211" y="96"/>
                    <a:pt x="2211" y="96"/>
                  </a:cubicBezTo>
                  <a:cubicBezTo>
                    <a:pt x="2232" y="96"/>
                    <a:pt x="2232" y="96"/>
                    <a:pt x="2232" y="96"/>
                  </a:cubicBezTo>
                  <a:cubicBezTo>
                    <a:pt x="2232" y="69"/>
                    <a:pt x="2232" y="69"/>
                    <a:pt x="2232" y="69"/>
                  </a:cubicBezTo>
                  <a:cubicBezTo>
                    <a:pt x="2262" y="69"/>
                    <a:pt x="2262" y="69"/>
                    <a:pt x="2262" y="69"/>
                  </a:cubicBezTo>
                  <a:cubicBezTo>
                    <a:pt x="2262" y="163"/>
                    <a:pt x="2262" y="163"/>
                    <a:pt x="2262" y="163"/>
                  </a:cubicBezTo>
                  <a:cubicBezTo>
                    <a:pt x="2262" y="179"/>
                    <a:pt x="2262" y="179"/>
                    <a:pt x="2262" y="179"/>
                  </a:cubicBezTo>
                  <a:cubicBezTo>
                    <a:pt x="2263" y="179"/>
                    <a:pt x="2263" y="179"/>
                    <a:pt x="2263" y="179"/>
                  </a:cubicBezTo>
                  <a:cubicBezTo>
                    <a:pt x="2263" y="121"/>
                    <a:pt x="2263" y="121"/>
                    <a:pt x="2263" y="121"/>
                  </a:cubicBezTo>
                  <a:cubicBezTo>
                    <a:pt x="2266" y="118"/>
                    <a:pt x="2266" y="118"/>
                    <a:pt x="2266" y="118"/>
                  </a:cubicBezTo>
                  <a:cubicBezTo>
                    <a:pt x="2305" y="118"/>
                    <a:pt x="2305" y="118"/>
                    <a:pt x="2305" y="118"/>
                  </a:cubicBezTo>
                  <a:cubicBezTo>
                    <a:pt x="2305" y="163"/>
                    <a:pt x="2305" y="163"/>
                    <a:pt x="2305" y="163"/>
                  </a:cubicBezTo>
                  <a:cubicBezTo>
                    <a:pt x="2316" y="163"/>
                    <a:pt x="2316" y="163"/>
                    <a:pt x="2316" y="163"/>
                  </a:cubicBezTo>
                  <a:cubicBezTo>
                    <a:pt x="2316" y="52"/>
                    <a:pt x="2316" y="52"/>
                    <a:pt x="2316" y="52"/>
                  </a:cubicBezTo>
                  <a:cubicBezTo>
                    <a:pt x="2347" y="37"/>
                    <a:pt x="2347" y="37"/>
                    <a:pt x="2347" y="37"/>
                  </a:cubicBezTo>
                  <a:cubicBezTo>
                    <a:pt x="2347" y="29"/>
                    <a:pt x="2347" y="29"/>
                    <a:pt x="2347" y="29"/>
                  </a:cubicBezTo>
                  <a:cubicBezTo>
                    <a:pt x="2387" y="29"/>
                    <a:pt x="2387" y="29"/>
                    <a:pt x="2387" y="29"/>
                  </a:cubicBezTo>
                  <a:cubicBezTo>
                    <a:pt x="2387" y="179"/>
                    <a:pt x="2387" y="179"/>
                    <a:pt x="2387" y="179"/>
                  </a:cubicBezTo>
                  <a:cubicBezTo>
                    <a:pt x="2404" y="179"/>
                    <a:pt x="2404" y="179"/>
                    <a:pt x="2404" y="179"/>
                  </a:cubicBezTo>
                  <a:cubicBezTo>
                    <a:pt x="2404" y="187"/>
                    <a:pt x="2404" y="187"/>
                    <a:pt x="2404" y="187"/>
                  </a:cubicBezTo>
                  <a:cubicBezTo>
                    <a:pt x="2413" y="187"/>
                    <a:pt x="2413" y="187"/>
                    <a:pt x="2413" y="187"/>
                  </a:cubicBezTo>
                  <a:cubicBezTo>
                    <a:pt x="2413" y="124"/>
                    <a:pt x="2413" y="124"/>
                    <a:pt x="2413" y="124"/>
                  </a:cubicBezTo>
                  <a:cubicBezTo>
                    <a:pt x="2443" y="124"/>
                    <a:pt x="2443" y="124"/>
                    <a:pt x="2443" y="124"/>
                  </a:cubicBezTo>
                  <a:cubicBezTo>
                    <a:pt x="2443" y="156"/>
                    <a:pt x="2443" y="156"/>
                    <a:pt x="2443" y="156"/>
                  </a:cubicBezTo>
                  <a:cubicBezTo>
                    <a:pt x="2455" y="156"/>
                    <a:pt x="2455" y="156"/>
                    <a:pt x="2455" y="156"/>
                  </a:cubicBezTo>
                  <a:cubicBezTo>
                    <a:pt x="2455" y="132"/>
                    <a:pt x="2455" y="132"/>
                    <a:pt x="2455" y="132"/>
                  </a:cubicBezTo>
                  <a:cubicBezTo>
                    <a:pt x="2477" y="132"/>
                    <a:pt x="2477" y="132"/>
                    <a:pt x="2477" y="132"/>
                  </a:cubicBezTo>
                  <a:cubicBezTo>
                    <a:pt x="2477" y="45"/>
                    <a:pt x="2477" y="45"/>
                    <a:pt x="2477" y="45"/>
                  </a:cubicBezTo>
                  <a:cubicBezTo>
                    <a:pt x="2515" y="45"/>
                    <a:pt x="2515" y="45"/>
                    <a:pt x="2515" y="45"/>
                  </a:cubicBezTo>
                  <a:cubicBezTo>
                    <a:pt x="2515" y="68"/>
                    <a:pt x="2515" y="68"/>
                    <a:pt x="2515" y="68"/>
                  </a:cubicBezTo>
                  <a:cubicBezTo>
                    <a:pt x="2544" y="68"/>
                    <a:pt x="2544" y="68"/>
                    <a:pt x="2544" y="68"/>
                  </a:cubicBezTo>
                  <a:cubicBezTo>
                    <a:pt x="2544" y="76"/>
                    <a:pt x="2544" y="76"/>
                    <a:pt x="2544" y="76"/>
                  </a:cubicBezTo>
                  <a:cubicBezTo>
                    <a:pt x="2572" y="76"/>
                    <a:pt x="2572" y="76"/>
                    <a:pt x="2572" y="76"/>
                  </a:cubicBezTo>
                  <a:cubicBezTo>
                    <a:pt x="2572" y="148"/>
                    <a:pt x="2572" y="148"/>
                    <a:pt x="2572" y="148"/>
                  </a:cubicBezTo>
                  <a:cubicBezTo>
                    <a:pt x="2585" y="148"/>
                    <a:pt x="2585" y="148"/>
                    <a:pt x="2585" y="148"/>
                  </a:cubicBezTo>
                  <a:cubicBezTo>
                    <a:pt x="2585" y="37"/>
                    <a:pt x="2585" y="37"/>
                    <a:pt x="2585" y="37"/>
                  </a:cubicBezTo>
                  <a:cubicBezTo>
                    <a:pt x="2625" y="42"/>
                    <a:pt x="2625" y="42"/>
                    <a:pt x="2625" y="42"/>
                  </a:cubicBezTo>
                  <a:cubicBezTo>
                    <a:pt x="2625" y="116"/>
                    <a:pt x="2625" y="116"/>
                    <a:pt x="2625" y="116"/>
                  </a:cubicBezTo>
                  <a:cubicBezTo>
                    <a:pt x="2642" y="116"/>
                    <a:pt x="2642" y="116"/>
                    <a:pt x="2642" y="116"/>
                  </a:cubicBezTo>
                  <a:cubicBezTo>
                    <a:pt x="2642" y="76"/>
                    <a:pt x="2642" y="76"/>
                    <a:pt x="2642" y="76"/>
                  </a:cubicBezTo>
                  <a:cubicBezTo>
                    <a:pt x="2670" y="76"/>
                    <a:pt x="2670" y="76"/>
                    <a:pt x="2670" y="76"/>
                  </a:cubicBezTo>
                  <a:cubicBezTo>
                    <a:pt x="2670" y="45"/>
                    <a:pt x="2670" y="45"/>
                    <a:pt x="2670" y="45"/>
                  </a:cubicBezTo>
                  <a:cubicBezTo>
                    <a:pt x="2708" y="45"/>
                    <a:pt x="2708" y="45"/>
                    <a:pt x="2708" y="45"/>
                  </a:cubicBezTo>
                  <a:cubicBezTo>
                    <a:pt x="2708" y="171"/>
                    <a:pt x="2708" y="171"/>
                    <a:pt x="2708" y="171"/>
                  </a:cubicBezTo>
                  <a:cubicBezTo>
                    <a:pt x="2719" y="171"/>
                    <a:pt x="2719" y="171"/>
                    <a:pt x="2719" y="171"/>
                  </a:cubicBezTo>
                  <a:cubicBezTo>
                    <a:pt x="2719" y="77"/>
                    <a:pt x="2719" y="77"/>
                    <a:pt x="2719" y="77"/>
                  </a:cubicBezTo>
                  <a:cubicBezTo>
                    <a:pt x="2752" y="92"/>
                    <a:pt x="2752" y="92"/>
                    <a:pt x="2752" y="92"/>
                  </a:cubicBezTo>
                  <a:cubicBezTo>
                    <a:pt x="2752" y="187"/>
                    <a:pt x="2752" y="187"/>
                    <a:pt x="2752" y="187"/>
                  </a:cubicBezTo>
                  <a:cubicBezTo>
                    <a:pt x="2761" y="187"/>
                    <a:pt x="2761" y="187"/>
                    <a:pt x="2761" y="187"/>
                  </a:cubicBezTo>
                  <a:cubicBezTo>
                    <a:pt x="2761" y="163"/>
                    <a:pt x="2761" y="163"/>
                    <a:pt x="2761" y="163"/>
                  </a:cubicBezTo>
                  <a:cubicBezTo>
                    <a:pt x="2779" y="163"/>
                    <a:pt x="2779" y="163"/>
                    <a:pt x="2779" y="163"/>
                  </a:cubicBezTo>
                  <a:cubicBezTo>
                    <a:pt x="2779" y="107"/>
                    <a:pt x="2779" y="107"/>
                    <a:pt x="2779" y="107"/>
                  </a:cubicBezTo>
                  <a:cubicBezTo>
                    <a:pt x="2787" y="107"/>
                    <a:pt x="2787" y="107"/>
                    <a:pt x="2787" y="107"/>
                  </a:cubicBezTo>
                  <a:cubicBezTo>
                    <a:pt x="2787" y="104"/>
                    <a:pt x="2791" y="100"/>
                    <a:pt x="2799" y="100"/>
                  </a:cubicBezTo>
                  <a:cubicBezTo>
                    <a:pt x="2799" y="100"/>
                    <a:pt x="2799" y="100"/>
                    <a:pt x="2799" y="100"/>
                  </a:cubicBezTo>
                  <a:cubicBezTo>
                    <a:pt x="2800" y="100"/>
                    <a:pt x="2802" y="100"/>
                    <a:pt x="2803" y="100"/>
                  </a:cubicBezTo>
                  <a:cubicBezTo>
                    <a:pt x="2803" y="305"/>
                    <a:pt x="2803" y="305"/>
                    <a:pt x="2803" y="305"/>
                  </a:cubicBezTo>
                  <a:cubicBezTo>
                    <a:pt x="2149" y="305"/>
                    <a:pt x="2149" y="305"/>
                    <a:pt x="2149" y="305"/>
                  </a:cubicBezTo>
                  <a:cubicBezTo>
                    <a:pt x="2149" y="305"/>
                    <a:pt x="2149" y="305"/>
                    <a:pt x="2149" y="305"/>
                  </a:cubicBezTo>
                  <a:cubicBezTo>
                    <a:pt x="0" y="305"/>
                    <a:pt x="0" y="305"/>
                    <a:pt x="0" y="30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14" y="179"/>
                    <a:pt x="114" y="179"/>
                    <a:pt x="114" y="179"/>
                  </a:cubicBezTo>
                  <a:cubicBezTo>
                    <a:pt x="114" y="121"/>
                    <a:pt x="114" y="121"/>
                    <a:pt x="114" y="121"/>
                  </a:cubicBezTo>
                  <a:cubicBezTo>
                    <a:pt x="117" y="118"/>
                    <a:pt x="117" y="118"/>
                    <a:pt x="117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63"/>
                    <a:pt x="156" y="163"/>
                    <a:pt x="156" y="163"/>
                  </a:cubicBezTo>
                  <a:cubicBezTo>
                    <a:pt x="167" y="163"/>
                    <a:pt x="167" y="163"/>
                    <a:pt x="167" y="163"/>
                  </a:cubicBezTo>
                  <a:cubicBezTo>
                    <a:pt x="167" y="52"/>
                    <a:pt x="167" y="52"/>
                    <a:pt x="167" y="52"/>
                  </a:cubicBezTo>
                  <a:cubicBezTo>
                    <a:pt x="198" y="37"/>
                    <a:pt x="198" y="37"/>
                    <a:pt x="198" y="37"/>
                  </a:cubicBezTo>
                  <a:cubicBezTo>
                    <a:pt x="198" y="29"/>
                    <a:pt x="198" y="29"/>
                    <a:pt x="198" y="29"/>
                  </a:cubicBezTo>
                  <a:cubicBezTo>
                    <a:pt x="238" y="29"/>
                    <a:pt x="238" y="29"/>
                    <a:pt x="238" y="29"/>
                  </a:cubicBezTo>
                  <a:cubicBezTo>
                    <a:pt x="238" y="179"/>
                    <a:pt x="238" y="179"/>
                    <a:pt x="238" y="179"/>
                  </a:cubicBezTo>
                  <a:cubicBezTo>
                    <a:pt x="255" y="179"/>
                    <a:pt x="255" y="179"/>
                    <a:pt x="255" y="179"/>
                  </a:cubicBezTo>
                  <a:cubicBezTo>
                    <a:pt x="255" y="187"/>
                    <a:pt x="255" y="187"/>
                    <a:pt x="255" y="187"/>
                  </a:cubicBezTo>
                  <a:cubicBezTo>
                    <a:pt x="264" y="187"/>
                    <a:pt x="264" y="187"/>
                    <a:pt x="264" y="187"/>
                  </a:cubicBezTo>
                  <a:cubicBezTo>
                    <a:pt x="264" y="124"/>
                    <a:pt x="264" y="124"/>
                    <a:pt x="264" y="124"/>
                  </a:cubicBezTo>
                  <a:cubicBezTo>
                    <a:pt x="294" y="124"/>
                    <a:pt x="294" y="124"/>
                    <a:pt x="294" y="124"/>
                  </a:cubicBezTo>
                  <a:cubicBezTo>
                    <a:pt x="294" y="156"/>
                    <a:pt x="294" y="156"/>
                    <a:pt x="294" y="156"/>
                  </a:cubicBezTo>
                  <a:cubicBezTo>
                    <a:pt x="306" y="156"/>
                    <a:pt x="306" y="156"/>
                    <a:pt x="306" y="156"/>
                  </a:cubicBezTo>
                  <a:cubicBezTo>
                    <a:pt x="306" y="132"/>
                    <a:pt x="306" y="132"/>
                    <a:pt x="306" y="132"/>
                  </a:cubicBezTo>
                  <a:cubicBezTo>
                    <a:pt x="328" y="132"/>
                    <a:pt x="328" y="132"/>
                    <a:pt x="328" y="132"/>
                  </a:cubicBezTo>
                  <a:cubicBezTo>
                    <a:pt x="328" y="45"/>
                    <a:pt x="328" y="45"/>
                    <a:pt x="328" y="45"/>
                  </a:cubicBezTo>
                  <a:cubicBezTo>
                    <a:pt x="366" y="45"/>
                    <a:pt x="366" y="45"/>
                    <a:pt x="366" y="45"/>
                  </a:cubicBezTo>
                  <a:cubicBezTo>
                    <a:pt x="366" y="68"/>
                    <a:pt x="366" y="68"/>
                    <a:pt x="366" y="68"/>
                  </a:cubicBezTo>
                  <a:cubicBezTo>
                    <a:pt x="395" y="68"/>
                    <a:pt x="395" y="68"/>
                    <a:pt x="395" y="68"/>
                  </a:cubicBezTo>
                  <a:cubicBezTo>
                    <a:pt x="395" y="76"/>
                    <a:pt x="395" y="76"/>
                    <a:pt x="395" y="76"/>
                  </a:cubicBezTo>
                  <a:cubicBezTo>
                    <a:pt x="423" y="76"/>
                    <a:pt x="423" y="76"/>
                    <a:pt x="423" y="76"/>
                  </a:cubicBezTo>
                  <a:cubicBezTo>
                    <a:pt x="423" y="148"/>
                    <a:pt x="423" y="148"/>
                    <a:pt x="423" y="148"/>
                  </a:cubicBezTo>
                  <a:cubicBezTo>
                    <a:pt x="437" y="148"/>
                    <a:pt x="437" y="148"/>
                    <a:pt x="437" y="148"/>
                  </a:cubicBezTo>
                  <a:cubicBezTo>
                    <a:pt x="437" y="37"/>
                    <a:pt x="437" y="37"/>
                    <a:pt x="437" y="3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116"/>
                    <a:pt x="476" y="116"/>
                    <a:pt x="476" y="116"/>
                  </a:cubicBezTo>
                  <a:cubicBezTo>
                    <a:pt x="493" y="116"/>
                    <a:pt x="493" y="116"/>
                    <a:pt x="493" y="116"/>
                  </a:cubicBezTo>
                  <a:cubicBezTo>
                    <a:pt x="493" y="76"/>
                    <a:pt x="493" y="76"/>
                    <a:pt x="493" y="76"/>
                  </a:cubicBezTo>
                  <a:cubicBezTo>
                    <a:pt x="521" y="76"/>
                    <a:pt x="521" y="76"/>
                    <a:pt x="521" y="76"/>
                  </a:cubicBezTo>
                  <a:cubicBezTo>
                    <a:pt x="521" y="45"/>
                    <a:pt x="521" y="45"/>
                    <a:pt x="521" y="45"/>
                  </a:cubicBezTo>
                  <a:cubicBezTo>
                    <a:pt x="559" y="45"/>
                    <a:pt x="559" y="45"/>
                    <a:pt x="559" y="45"/>
                  </a:cubicBezTo>
                  <a:cubicBezTo>
                    <a:pt x="559" y="171"/>
                    <a:pt x="559" y="171"/>
                    <a:pt x="559" y="171"/>
                  </a:cubicBezTo>
                  <a:cubicBezTo>
                    <a:pt x="570" y="171"/>
                    <a:pt x="570" y="171"/>
                    <a:pt x="570" y="171"/>
                  </a:cubicBezTo>
                  <a:cubicBezTo>
                    <a:pt x="570" y="77"/>
                    <a:pt x="570" y="77"/>
                    <a:pt x="570" y="77"/>
                  </a:cubicBezTo>
                  <a:cubicBezTo>
                    <a:pt x="603" y="92"/>
                    <a:pt x="603" y="92"/>
                    <a:pt x="603" y="92"/>
                  </a:cubicBezTo>
                  <a:cubicBezTo>
                    <a:pt x="603" y="187"/>
                    <a:pt x="603" y="187"/>
                    <a:pt x="603" y="187"/>
                  </a:cubicBezTo>
                  <a:cubicBezTo>
                    <a:pt x="612" y="187"/>
                    <a:pt x="612" y="187"/>
                    <a:pt x="612" y="187"/>
                  </a:cubicBezTo>
                  <a:cubicBezTo>
                    <a:pt x="612" y="163"/>
                    <a:pt x="612" y="163"/>
                    <a:pt x="612" y="163"/>
                  </a:cubicBezTo>
                  <a:cubicBezTo>
                    <a:pt x="630" y="163"/>
                    <a:pt x="630" y="163"/>
                    <a:pt x="630" y="163"/>
                  </a:cubicBezTo>
                  <a:cubicBezTo>
                    <a:pt x="630" y="107"/>
                    <a:pt x="630" y="107"/>
                    <a:pt x="630" y="107"/>
                  </a:cubicBezTo>
                  <a:cubicBezTo>
                    <a:pt x="638" y="107"/>
                    <a:pt x="638" y="107"/>
                    <a:pt x="638" y="107"/>
                  </a:cubicBezTo>
                  <a:cubicBezTo>
                    <a:pt x="638" y="104"/>
                    <a:pt x="642" y="100"/>
                    <a:pt x="650" y="100"/>
                  </a:cubicBezTo>
                  <a:cubicBezTo>
                    <a:pt x="650" y="100"/>
                    <a:pt x="650" y="100"/>
                    <a:pt x="650" y="100"/>
                  </a:cubicBezTo>
                  <a:cubicBezTo>
                    <a:pt x="658" y="100"/>
                    <a:pt x="662" y="104"/>
                    <a:pt x="662" y="107"/>
                  </a:cubicBezTo>
                  <a:cubicBezTo>
                    <a:pt x="670" y="107"/>
                    <a:pt x="670" y="107"/>
                    <a:pt x="670" y="107"/>
                  </a:cubicBezTo>
                  <a:cubicBezTo>
                    <a:pt x="670" y="163"/>
                    <a:pt x="670" y="163"/>
                    <a:pt x="670" y="163"/>
                  </a:cubicBezTo>
                  <a:cubicBezTo>
                    <a:pt x="688" y="163"/>
                    <a:pt x="688" y="163"/>
                    <a:pt x="688" y="163"/>
                  </a:cubicBezTo>
                  <a:cubicBezTo>
                    <a:pt x="688" y="187"/>
                    <a:pt x="688" y="187"/>
                    <a:pt x="688" y="187"/>
                  </a:cubicBezTo>
                  <a:cubicBezTo>
                    <a:pt x="697" y="187"/>
                    <a:pt x="697" y="187"/>
                    <a:pt x="697" y="187"/>
                  </a:cubicBezTo>
                  <a:cubicBezTo>
                    <a:pt x="697" y="60"/>
                    <a:pt x="697" y="60"/>
                    <a:pt x="697" y="60"/>
                  </a:cubicBezTo>
                  <a:cubicBezTo>
                    <a:pt x="727" y="60"/>
                    <a:pt x="727" y="60"/>
                    <a:pt x="727" y="60"/>
                  </a:cubicBezTo>
                  <a:cubicBezTo>
                    <a:pt x="727" y="21"/>
                    <a:pt x="727" y="21"/>
                    <a:pt x="727" y="21"/>
                  </a:cubicBezTo>
                  <a:cubicBezTo>
                    <a:pt x="734" y="21"/>
                    <a:pt x="734" y="21"/>
                    <a:pt x="734" y="21"/>
                  </a:cubicBezTo>
                  <a:cubicBezTo>
                    <a:pt x="734" y="13"/>
                    <a:pt x="734" y="13"/>
                    <a:pt x="734" y="13"/>
                  </a:cubicBezTo>
                  <a:cubicBezTo>
                    <a:pt x="761" y="13"/>
                    <a:pt x="761" y="13"/>
                    <a:pt x="761" y="13"/>
                  </a:cubicBezTo>
                  <a:cubicBezTo>
                    <a:pt x="761" y="13"/>
                    <a:pt x="761" y="13"/>
                    <a:pt x="761" y="13"/>
                  </a:cubicBezTo>
                  <a:cubicBezTo>
                    <a:pt x="761" y="21"/>
                    <a:pt x="761" y="21"/>
                    <a:pt x="761" y="21"/>
                  </a:cubicBezTo>
                  <a:cubicBezTo>
                    <a:pt x="768" y="21"/>
                    <a:pt x="768" y="21"/>
                    <a:pt x="768" y="21"/>
                  </a:cubicBezTo>
                  <a:cubicBezTo>
                    <a:pt x="768" y="84"/>
                    <a:pt x="768" y="84"/>
                    <a:pt x="768" y="84"/>
                  </a:cubicBezTo>
                  <a:cubicBezTo>
                    <a:pt x="795" y="84"/>
                    <a:pt x="795" y="84"/>
                    <a:pt x="795" y="84"/>
                  </a:cubicBezTo>
                  <a:cubicBezTo>
                    <a:pt x="795" y="116"/>
                    <a:pt x="795" y="116"/>
                    <a:pt x="795" y="116"/>
                  </a:cubicBezTo>
                  <a:cubicBezTo>
                    <a:pt x="865" y="116"/>
                    <a:pt x="795" y="116"/>
                    <a:pt x="874" y="116"/>
                  </a:cubicBezTo>
                  <a:cubicBezTo>
                    <a:pt x="874" y="148"/>
                    <a:pt x="874" y="148"/>
                    <a:pt x="874" y="148"/>
                  </a:cubicBezTo>
                  <a:cubicBezTo>
                    <a:pt x="887" y="148"/>
                    <a:pt x="887" y="148"/>
                    <a:pt x="887" y="148"/>
                  </a:cubicBezTo>
                  <a:cubicBezTo>
                    <a:pt x="887" y="59"/>
                    <a:pt x="887" y="59"/>
                    <a:pt x="887" y="59"/>
                  </a:cubicBezTo>
                  <a:cubicBezTo>
                    <a:pt x="921" y="59"/>
                    <a:pt x="921" y="59"/>
                    <a:pt x="921" y="59"/>
                  </a:cubicBezTo>
                  <a:cubicBezTo>
                    <a:pt x="921" y="75"/>
                    <a:pt x="921" y="75"/>
                    <a:pt x="921" y="75"/>
                  </a:cubicBezTo>
                  <a:cubicBezTo>
                    <a:pt x="936" y="75"/>
                    <a:pt x="936" y="75"/>
                    <a:pt x="936" y="75"/>
                  </a:cubicBezTo>
                  <a:cubicBezTo>
                    <a:pt x="936" y="0"/>
                    <a:pt x="936" y="0"/>
                    <a:pt x="936" y="0"/>
                  </a:cubicBezTo>
                  <a:cubicBezTo>
                    <a:pt x="1022" y="26"/>
                    <a:pt x="1022" y="26"/>
                    <a:pt x="1022" y="26"/>
                  </a:cubicBezTo>
                  <a:cubicBezTo>
                    <a:pt x="1022" y="75"/>
                    <a:pt x="1022" y="75"/>
                    <a:pt x="1022" y="75"/>
                  </a:cubicBezTo>
                  <a:cubicBezTo>
                    <a:pt x="1041" y="75"/>
                    <a:pt x="1041" y="75"/>
                    <a:pt x="1041" y="75"/>
                  </a:cubicBezTo>
                  <a:cubicBezTo>
                    <a:pt x="1041" y="118"/>
                    <a:pt x="1041" y="118"/>
                    <a:pt x="1041" y="118"/>
                  </a:cubicBezTo>
                  <a:cubicBezTo>
                    <a:pt x="1076" y="129"/>
                    <a:pt x="1076" y="129"/>
                    <a:pt x="1076" y="129"/>
                  </a:cubicBezTo>
                  <a:cubicBezTo>
                    <a:pt x="1076" y="156"/>
                    <a:pt x="1076" y="156"/>
                    <a:pt x="1076" y="156"/>
                  </a:cubicBezTo>
                  <a:cubicBezTo>
                    <a:pt x="1088" y="156"/>
                    <a:pt x="1088" y="156"/>
                    <a:pt x="1088" y="156"/>
                  </a:cubicBezTo>
                  <a:cubicBezTo>
                    <a:pt x="1088" y="179"/>
                    <a:pt x="1088" y="179"/>
                    <a:pt x="1088" y="179"/>
                  </a:cubicBezTo>
                  <a:cubicBezTo>
                    <a:pt x="1097" y="179"/>
                    <a:pt x="1097" y="179"/>
                    <a:pt x="1097" y="179"/>
                  </a:cubicBezTo>
                  <a:cubicBezTo>
                    <a:pt x="1097" y="100"/>
                    <a:pt x="1097" y="100"/>
                    <a:pt x="1097" y="100"/>
                  </a:cubicBezTo>
                  <a:cubicBezTo>
                    <a:pt x="1106" y="100"/>
                    <a:pt x="1106" y="100"/>
                    <a:pt x="1106" y="100"/>
                  </a:cubicBezTo>
                  <a:cubicBezTo>
                    <a:pt x="1106" y="66"/>
                    <a:pt x="1106" y="66"/>
                    <a:pt x="1106" y="66"/>
                  </a:cubicBezTo>
                  <a:cubicBezTo>
                    <a:pt x="1133" y="66"/>
                    <a:pt x="1133" y="66"/>
                    <a:pt x="1133" y="66"/>
                  </a:cubicBezTo>
                  <a:cubicBezTo>
                    <a:pt x="1133" y="23"/>
                    <a:pt x="1133" y="23"/>
                    <a:pt x="1133" y="23"/>
                  </a:cubicBezTo>
                  <a:cubicBezTo>
                    <a:pt x="1237" y="23"/>
                    <a:pt x="1237" y="23"/>
                    <a:pt x="1237" y="23"/>
                  </a:cubicBezTo>
                  <a:cubicBezTo>
                    <a:pt x="1237" y="171"/>
                    <a:pt x="1237" y="171"/>
                    <a:pt x="1237" y="171"/>
                  </a:cubicBezTo>
                  <a:cubicBezTo>
                    <a:pt x="1248" y="171"/>
                    <a:pt x="1248" y="171"/>
                    <a:pt x="1248" y="171"/>
                  </a:cubicBezTo>
                  <a:cubicBezTo>
                    <a:pt x="1248" y="124"/>
                    <a:pt x="1248" y="124"/>
                    <a:pt x="1248" y="124"/>
                  </a:cubicBezTo>
                  <a:cubicBezTo>
                    <a:pt x="1260" y="124"/>
                    <a:pt x="1260" y="124"/>
                    <a:pt x="1260" y="124"/>
                  </a:cubicBezTo>
                  <a:cubicBezTo>
                    <a:pt x="1260" y="4"/>
                    <a:pt x="1260" y="4"/>
                    <a:pt x="1260" y="4"/>
                  </a:cubicBezTo>
                  <a:cubicBezTo>
                    <a:pt x="1319" y="4"/>
                    <a:pt x="1319" y="4"/>
                    <a:pt x="1319" y="4"/>
                  </a:cubicBezTo>
                  <a:cubicBezTo>
                    <a:pt x="1319" y="124"/>
                    <a:pt x="1319" y="124"/>
                    <a:pt x="1319" y="124"/>
                  </a:cubicBezTo>
                  <a:cubicBezTo>
                    <a:pt x="1331" y="124"/>
                    <a:pt x="1331" y="124"/>
                    <a:pt x="1331" y="124"/>
                  </a:cubicBezTo>
                  <a:cubicBezTo>
                    <a:pt x="1331" y="163"/>
                    <a:pt x="1331" y="163"/>
                    <a:pt x="1331" y="163"/>
                  </a:cubicBezTo>
                  <a:cubicBezTo>
                    <a:pt x="1342" y="163"/>
                    <a:pt x="1342" y="163"/>
                    <a:pt x="1342" y="163"/>
                  </a:cubicBezTo>
                  <a:cubicBezTo>
                    <a:pt x="1342" y="106"/>
                    <a:pt x="1342" y="106"/>
                    <a:pt x="1342" y="106"/>
                  </a:cubicBezTo>
                  <a:cubicBezTo>
                    <a:pt x="1371" y="106"/>
                    <a:pt x="1371" y="106"/>
                    <a:pt x="1371" y="106"/>
                  </a:cubicBezTo>
                  <a:cubicBezTo>
                    <a:pt x="1371" y="54"/>
                    <a:pt x="1371" y="54"/>
                    <a:pt x="1371" y="54"/>
                  </a:cubicBezTo>
                  <a:cubicBezTo>
                    <a:pt x="1385" y="54"/>
                    <a:pt x="1385" y="54"/>
                    <a:pt x="1385" y="54"/>
                  </a:cubicBezTo>
                  <a:cubicBezTo>
                    <a:pt x="1385" y="49"/>
                    <a:pt x="1385" y="49"/>
                    <a:pt x="1385" y="49"/>
                  </a:cubicBezTo>
                  <a:cubicBezTo>
                    <a:pt x="1385" y="49"/>
                    <a:pt x="1385" y="49"/>
                    <a:pt x="1385" y="49"/>
                  </a:cubicBezTo>
                  <a:cubicBezTo>
                    <a:pt x="1399" y="49"/>
                    <a:pt x="1399" y="49"/>
                    <a:pt x="1399" y="49"/>
                  </a:cubicBezTo>
                  <a:cubicBezTo>
                    <a:pt x="1399" y="54"/>
                    <a:pt x="1399" y="54"/>
                    <a:pt x="1399" y="54"/>
                  </a:cubicBezTo>
                  <a:cubicBezTo>
                    <a:pt x="1414" y="54"/>
                    <a:pt x="1414" y="54"/>
                    <a:pt x="1414" y="54"/>
                  </a:cubicBezTo>
                  <a:cubicBezTo>
                    <a:pt x="1414" y="90"/>
                    <a:pt x="1414" y="90"/>
                    <a:pt x="1414" y="90"/>
                  </a:cubicBezTo>
                  <a:cubicBezTo>
                    <a:pt x="1438" y="90"/>
                    <a:pt x="1438" y="90"/>
                    <a:pt x="1438" y="90"/>
                  </a:cubicBezTo>
                  <a:cubicBezTo>
                    <a:pt x="1438" y="83"/>
                    <a:pt x="1438" y="83"/>
                    <a:pt x="1438" y="83"/>
                  </a:cubicBezTo>
                  <a:cubicBezTo>
                    <a:pt x="1440" y="83"/>
                    <a:pt x="1440" y="83"/>
                    <a:pt x="1440" y="83"/>
                  </a:cubicBezTo>
                  <a:cubicBezTo>
                    <a:pt x="1462" y="67"/>
                    <a:pt x="1462" y="67"/>
                    <a:pt x="1462" y="67"/>
                  </a:cubicBezTo>
                  <a:cubicBezTo>
                    <a:pt x="1476" y="67"/>
                    <a:pt x="1476" y="67"/>
                    <a:pt x="1476" y="67"/>
                  </a:cubicBezTo>
                  <a:cubicBezTo>
                    <a:pt x="1476" y="67"/>
                    <a:pt x="1476" y="67"/>
                    <a:pt x="1476" y="67"/>
                  </a:cubicBezTo>
                  <a:cubicBezTo>
                    <a:pt x="1476" y="83"/>
                    <a:pt x="1476" y="83"/>
                    <a:pt x="1476" y="83"/>
                  </a:cubicBezTo>
                  <a:cubicBezTo>
                    <a:pt x="1476" y="140"/>
                    <a:pt x="1476" y="140"/>
                    <a:pt x="1476" y="140"/>
                  </a:cubicBezTo>
                  <a:cubicBezTo>
                    <a:pt x="1497" y="140"/>
                    <a:pt x="1497" y="140"/>
                    <a:pt x="1497" y="140"/>
                  </a:cubicBezTo>
                  <a:cubicBezTo>
                    <a:pt x="1497" y="156"/>
                    <a:pt x="1497" y="156"/>
                    <a:pt x="1497" y="156"/>
                  </a:cubicBezTo>
                  <a:cubicBezTo>
                    <a:pt x="1510" y="156"/>
                    <a:pt x="1510" y="156"/>
                    <a:pt x="1510" y="156"/>
                  </a:cubicBezTo>
                  <a:cubicBezTo>
                    <a:pt x="1510" y="24"/>
                    <a:pt x="1510" y="24"/>
                    <a:pt x="1510" y="24"/>
                  </a:cubicBezTo>
                  <a:cubicBezTo>
                    <a:pt x="1549" y="24"/>
                    <a:pt x="1549" y="24"/>
                    <a:pt x="1549" y="24"/>
                  </a:cubicBezTo>
                  <a:cubicBezTo>
                    <a:pt x="1549" y="108"/>
                    <a:pt x="1549" y="108"/>
                    <a:pt x="1549" y="108"/>
                  </a:cubicBezTo>
                  <a:cubicBezTo>
                    <a:pt x="1574" y="108"/>
                    <a:pt x="1574" y="108"/>
                    <a:pt x="1574" y="108"/>
                  </a:cubicBezTo>
                  <a:cubicBezTo>
                    <a:pt x="1574" y="143"/>
                    <a:pt x="1570" y="131"/>
                    <a:pt x="1585" y="163"/>
                  </a:cubicBezTo>
                  <a:cubicBezTo>
                    <a:pt x="1585" y="52"/>
                    <a:pt x="1585" y="52"/>
                    <a:pt x="1585" y="52"/>
                  </a:cubicBezTo>
                  <a:cubicBezTo>
                    <a:pt x="1600" y="52"/>
                    <a:pt x="1600" y="52"/>
                    <a:pt x="1600" y="52"/>
                  </a:cubicBezTo>
                  <a:cubicBezTo>
                    <a:pt x="1600" y="41"/>
                    <a:pt x="1600" y="41"/>
                    <a:pt x="1600" y="41"/>
                  </a:cubicBezTo>
                  <a:cubicBezTo>
                    <a:pt x="1611" y="41"/>
                    <a:pt x="1611" y="41"/>
                    <a:pt x="1611" y="41"/>
                  </a:cubicBezTo>
                  <a:cubicBezTo>
                    <a:pt x="1611" y="41"/>
                    <a:pt x="1611" y="41"/>
                    <a:pt x="1611" y="41"/>
                  </a:cubicBezTo>
                  <a:cubicBezTo>
                    <a:pt x="1611" y="52"/>
                    <a:pt x="1611" y="52"/>
                    <a:pt x="1611" y="52"/>
                  </a:cubicBezTo>
                  <a:cubicBezTo>
                    <a:pt x="1623" y="52"/>
                    <a:pt x="1623" y="52"/>
                    <a:pt x="1623" y="52"/>
                  </a:cubicBezTo>
                  <a:cubicBezTo>
                    <a:pt x="1623" y="76"/>
                    <a:pt x="1623" y="76"/>
                    <a:pt x="1623" y="76"/>
                  </a:cubicBezTo>
                  <a:cubicBezTo>
                    <a:pt x="1651" y="76"/>
                    <a:pt x="1651" y="76"/>
                    <a:pt x="1651" y="76"/>
                  </a:cubicBezTo>
                  <a:cubicBezTo>
                    <a:pt x="1651" y="140"/>
                    <a:pt x="1651" y="140"/>
                    <a:pt x="1651" y="140"/>
                  </a:cubicBezTo>
                  <a:cubicBezTo>
                    <a:pt x="1665" y="140"/>
                    <a:pt x="1665" y="140"/>
                    <a:pt x="1665" y="140"/>
                  </a:cubicBezTo>
                  <a:cubicBezTo>
                    <a:pt x="1665" y="122"/>
                    <a:pt x="1665" y="122"/>
                    <a:pt x="1665" y="122"/>
                  </a:cubicBezTo>
                  <a:cubicBezTo>
                    <a:pt x="1672" y="122"/>
                    <a:pt x="1672" y="122"/>
                    <a:pt x="1672" y="122"/>
                  </a:cubicBezTo>
                  <a:cubicBezTo>
                    <a:pt x="1672" y="113"/>
                    <a:pt x="1672" y="113"/>
                    <a:pt x="1672" y="113"/>
                  </a:cubicBezTo>
                  <a:lnTo>
                    <a:pt x="1699" y="113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4F041390-9C3A-4555-ABAF-A01635FE6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5" y="4567841"/>
              <a:ext cx="11941883" cy="2149069"/>
            </a:xfrm>
            <a:custGeom>
              <a:avLst/>
              <a:gdLst>
                <a:gd name="T0" fmla="*/ 2585 w 2803"/>
                <a:gd name="T1" fmla="*/ 228 h 503"/>
                <a:gd name="T2" fmla="*/ 2621 w 2803"/>
                <a:gd name="T3" fmla="*/ 234 h 503"/>
                <a:gd name="T4" fmla="*/ 2624 w 2803"/>
                <a:gd name="T5" fmla="*/ 277 h 503"/>
                <a:gd name="T6" fmla="*/ 2699 w 2803"/>
                <a:gd name="T7" fmla="*/ 276 h 503"/>
                <a:gd name="T8" fmla="*/ 2720 w 2803"/>
                <a:gd name="T9" fmla="*/ 309 h 503"/>
                <a:gd name="T10" fmla="*/ 2763 w 2803"/>
                <a:gd name="T11" fmla="*/ 300 h 503"/>
                <a:gd name="T12" fmla="*/ 18 w 2803"/>
                <a:gd name="T13" fmla="*/ 182 h 503"/>
                <a:gd name="T14" fmla="*/ 115 w 2803"/>
                <a:gd name="T15" fmla="*/ 149 h 503"/>
                <a:gd name="T16" fmla="*/ 150 w 2803"/>
                <a:gd name="T17" fmla="*/ 148 h 503"/>
                <a:gd name="T18" fmla="*/ 238 w 2803"/>
                <a:gd name="T19" fmla="*/ 216 h 503"/>
                <a:gd name="T20" fmla="*/ 434 w 2803"/>
                <a:gd name="T21" fmla="*/ 294 h 503"/>
                <a:gd name="T22" fmla="*/ 471 w 2803"/>
                <a:gd name="T23" fmla="*/ 245 h 503"/>
                <a:gd name="T24" fmla="*/ 471 w 2803"/>
                <a:gd name="T25" fmla="*/ 298 h 503"/>
                <a:gd name="T26" fmla="*/ 558 w 2803"/>
                <a:gd name="T27" fmla="*/ 299 h 503"/>
                <a:gd name="T28" fmla="*/ 605 w 2803"/>
                <a:gd name="T29" fmla="*/ 259 h 503"/>
                <a:gd name="T30" fmla="*/ 631 w 2803"/>
                <a:gd name="T31" fmla="*/ 317 h 503"/>
                <a:gd name="T32" fmla="*/ 689 w 2803"/>
                <a:gd name="T33" fmla="*/ 283 h 503"/>
                <a:gd name="T34" fmla="*/ 971 w 2803"/>
                <a:gd name="T35" fmla="*/ 362 h 503"/>
                <a:gd name="T36" fmla="*/ 975 w 2803"/>
                <a:gd name="T37" fmla="*/ 317 h 503"/>
                <a:gd name="T38" fmla="*/ 980 w 2803"/>
                <a:gd name="T39" fmla="*/ 277 h 503"/>
                <a:gd name="T40" fmla="*/ 1030 w 2803"/>
                <a:gd name="T41" fmla="*/ 309 h 503"/>
                <a:gd name="T42" fmla="*/ 1034 w 2803"/>
                <a:gd name="T43" fmla="*/ 341 h 503"/>
                <a:gd name="T44" fmla="*/ 1111 w 2803"/>
                <a:gd name="T45" fmla="*/ 340 h 503"/>
                <a:gd name="T46" fmla="*/ 1198 w 2803"/>
                <a:gd name="T47" fmla="*/ 361 h 503"/>
                <a:gd name="T48" fmla="*/ 1381 w 2803"/>
                <a:gd name="T49" fmla="*/ 210 h 503"/>
                <a:gd name="T50" fmla="*/ 1482 w 2803"/>
                <a:gd name="T51" fmla="*/ 210 h 503"/>
                <a:gd name="T52" fmla="*/ 1582 w 2803"/>
                <a:gd name="T53" fmla="*/ 210 h 503"/>
                <a:gd name="T54" fmla="*/ 1730 w 2803"/>
                <a:gd name="T55" fmla="*/ 340 h 503"/>
                <a:gd name="T56" fmla="*/ 1794 w 2803"/>
                <a:gd name="T57" fmla="*/ 299 h 503"/>
                <a:gd name="T58" fmla="*/ 1801 w 2803"/>
                <a:gd name="T59" fmla="*/ 274 h 503"/>
                <a:gd name="T60" fmla="*/ 1857 w 2803"/>
                <a:gd name="T61" fmla="*/ 263 h 503"/>
                <a:gd name="T62" fmla="*/ 1937 w 2803"/>
                <a:gd name="T63" fmla="*/ 258 h 503"/>
                <a:gd name="T64" fmla="*/ 2013 w 2803"/>
                <a:gd name="T65" fmla="*/ 232 h 503"/>
                <a:gd name="T66" fmla="*/ 2187 w 2803"/>
                <a:gd name="T67" fmla="*/ 113 h 503"/>
                <a:gd name="T68" fmla="*/ 2337 w 2803"/>
                <a:gd name="T69" fmla="*/ 202 h 503"/>
                <a:gd name="T70" fmla="*/ 2461 w 2803"/>
                <a:gd name="T71" fmla="*/ 173 h 503"/>
                <a:gd name="T72" fmla="*/ 1683 w 2803"/>
                <a:gd name="T73" fmla="*/ 330 h 503"/>
                <a:gd name="T74" fmla="*/ 1653 w 2803"/>
                <a:gd name="T75" fmla="*/ 360 h 503"/>
                <a:gd name="T76" fmla="*/ 1346 w 2803"/>
                <a:gd name="T77" fmla="*/ 332 h 503"/>
                <a:gd name="T78" fmla="*/ 1312 w 2803"/>
                <a:gd name="T79" fmla="*/ 345 h 503"/>
                <a:gd name="T80" fmla="*/ 1290 w 2803"/>
                <a:gd name="T81" fmla="*/ 285 h 503"/>
                <a:gd name="T82" fmla="*/ 1221 w 2803"/>
                <a:gd name="T83" fmla="*/ 419 h 503"/>
                <a:gd name="T84" fmla="*/ 751 w 2803"/>
                <a:gd name="T85" fmla="*/ 357 h 503"/>
                <a:gd name="T86" fmla="*/ 797 w 2803"/>
                <a:gd name="T87" fmla="*/ 356 h 503"/>
                <a:gd name="T88" fmla="*/ 831 w 2803"/>
                <a:gd name="T89" fmla="*/ 368 h 503"/>
                <a:gd name="T90" fmla="*/ 859 w 2803"/>
                <a:gd name="T91" fmla="*/ 381 h 503"/>
                <a:gd name="T92" fmla="*/ 859 w 2803"/>
                <a:gd name="T93" fmla="*/ 394 h 503"/>
                <a:gd name="T94" fmla="*/ 795 w 2803"/>
                <a:gd name="T95" fmla="*/ 363 h 503"/>
                <a:gd name="T96" fmla="*/ 754 w 2803"/>
                <a:gd name="T97" fmla="*/ 382 h 503"/>
                <a:gd name="T98" fmla="*/ 827 w 2803"/>
                <a:gd name="T99" fmla="*/ 389 h 503"/>
                <a:gd name="T100" fmla="*/ 665 w 2803"/>
                <a:gd name="T101" fmla="*/ 332 h 503"/>
                <a:gd name="T102" fmla="*/ 793 w 2803"/>
                <a:gd name="T103" fmla="*/ 373 h 503"/>
                <a:gd name="T104" fmla="*/ 55 w 2803"/>
                <a:gd name="T105" fmla="*/ 231 h 503"/>
                <a:gd name="T106" fmla="*/ 2739 w 2803"/>
                <a:gd name="T107" fmla="*/ 319 h 503"/>
                <a:gd name="T108" fmla="*/ 1864 w 2803"/>
                <a:gd name="T109" fmla="*/ 310 h 503"/>
                <a:gd name="T110" fmla="*/ 1928 w 2803"/>
                <a:gd name="T111" fmla="*/ 311 h 503"/>
                <a:gd name="T112" fmla="*/ 2303 w 2803"/>
                <a:gd name="T113" fmla="*/ 231 h 503"/>
                <a:gd name="T114" fmla="*/ 2297 w 2803"/>
                <a:gd name="T115" fmla="*/ 213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03" h="503">
                  <a:moveTo>
                    <a:pt x="2577" y="282"/>
                  </a:moveTo>
                  <a:cubicBezTo>
                    <a:pt x="2581" y="282"/>
                    <a:pt x="2584" y="282"/>
                    <a:pt x="2588" y="281"/>
                  </a:cubicBezTo>
                  <a:cubicBezTo>
                    <a:pt x="2588" y="277"/>
                    <a:pt x="2588" y="273"/>
                    <a:pt x="2588" y="269"/>
                  </a:cubicBezTo>
                  <a:cubicBezTo>
                    <a:pt x="2586" y="268"/>
                    <a:pt x="2585" y="267"/>
                    <a:pt x="2584" y="265"/>
                  </a:cubicBezTo>
                  <a:cubicBezTo>
                    <a:pt x="2583" y="261"/>
                    <a:pt x="2585" y="255"/>
                    <a:pt x="2588" y="253"/>
                  </a:cubicBezTo>
                  <a:cubicBezTo>
                    <a:pt x="2588" y="252"/>
                    <a:pt x="2588" y="251"/>
                    <a:pt x="2588" y="251"/>
                  </a:cubicBezTo>
                  <a:cubicBezTo>
                    <a:pt x="2587" y="249"/>
                    <a:pt x="2585" y="248"/>
                    <a:pt x="2585" y="246"/>
                  </a:cubicBezTo>
                  <a:cubicBezTo>
                    <a:pt x="2584" y="242"/>
                    <a:pt x="2585" y="236"/>
                    <a:pt x="2589" y="234"/>
                  </a:cubicBezTo>
                  <a:cubicBezTo>
                    <a:pt x="2589" y="234"/>
                    <a:pt x="2589" y="233"/>
                    <a:pt x="2589" y="233"/>
                  </a:cubicBezTo>
                  <a:cubicBezTo>
                    <a:pt x="2587" y="231"/>
                    <a:pt x="2586" y="230"/>
                    <a:pt x="2585" y="228"/>
                  </a:cubicBezTo>
                  <a:cubicBezTo>
                    <a:pt x="2584" y="224"/>
                    <a:pt x="2586" y="218"/>
                    <a:pt x="2589" y="216"/>
                  </a:cubicBezTo>
                  <a:cubicBezTo>
                    <a:pt x="2589" y="213"/>
                    <a:pt x="2589" y="210"/>
                    <a:pt x="2589" y="208"/>
                  </a:cubicBezTo>
                  <a:cubicBezTo>
                    <a:pt x="2589" y="208"/>
                    <a:pt x="2589" y="208"/>
                    <a:pt x="2589" y="208"/>
                  </a:cubicBezTo>
                  <a:cubicBezTo>
                    <a:pt x="2589" y="208"/>
                    <a:pt x="2589" y="208"/>
                    <a:pt x="2589" y="208"/>
                  </a:cubicBezTo>
                  <a:cubicBezTo>
                    <a:pt x="2591" y="198"/>
                    <a:pt x="2620" y="200"/>
                    <a:pt x="2621" y="209"/>
                  </a:cubicBezTo>
                  <a:cubicBezTo>
                    <a:pt x="2621" y="210"/>
                    <a:pt x="2621" y="210"/>
                    <a:pt x="2621" y="210"/>
                  </a:cubicBezTo>
                  <a:cubicBezTo>
                    <a:pt x="2621" y="210"/>
                    <a:pt x="2621" y="210"/>
                    <a:pt x="2621" y="210"/>
                  </a:cubicBezTo>
                  <a:cubicBezTo>
                    <a:pt x="2621" y="212"/>
                    <a:pt x="2621" y="215"/>
                    <a:pt x="2621" y="218"/>
                  </a:cubicBezTo>
                  <a:cubicBezTo>
                    <a:pt x="2623" y="220"/>
                    <a:pt x="2623" y="224"/>
                    <a:pt x="2624" y="226"/>
                  </a:cubicBezTo>
                  <a:cubicBezTo>
                    <a:pt x="2624" y="229"/>
                    <a:pt x="2623" y="232"/>
                    <a:pt x="2621" y="234"/>
                  </a:cubicBezTo>
                  <a:cubicBezTo>
                    <a:pt x="2621" y="235"/>
                    <a:pt x="2620" y="235"/>
                    <a:pt x="2620" y="236"/>
                  </a:cubicBezTo>
                  <a:cubicBezTo>
                    <a:pt x="2622" y="238"/>
                    <a:pt x="2623" y="242"/>
                    <a:pt x="2623" y="244"/>
                  </a:cubicBezTo>
                  <a:cubicBezTo>
                    <a:pt x="2623" y="247"/>
                    <a:pt x="2623" y="250"/>
                    <a:pt x="2620" y="252"/>
                  </a:cubicBezTo>
                  <a:cubicBezTo>
                    <a:pt x="2620" y="253"/>
                    <a:pt x="2620" y="253"/>
                    <a:pt x="2620" y="254"/>
                  </a:cubicBezTo>
                  <a:cubicBezTo>
                    <a:pt x="2622" y="256"/>
                    <a:pt x="2623" y="260"/>
                    <a:pt x="2623" y="262"/>
                  </a:cubicBezTo>
                  <a:cubicBezTo>
                    <a:pt x="2623" y="265"/>
                    <a:pt x="2622" y="269"/>
                    <a:pt x="2620" y="270"/>
                  </a:cubicBezTo>
                  <a:cubicBezTo>
                    <a:pt x="2620" y="273"/>
                    <a:pt x="2620" y="275"/>
                    <a:pt x="2619" y="277"/>
                  </a:cubicBezTo>
                  <a:cubicBezTo>
                    <a:pt x="2621" y="277"/>
                    <a:pt x="2622" y="277"/>
                    <a:pt x="2623" y="277"/>
                  </a:cubicBezTo>
                  <a:cubicBezTo>
                    <a:pt x="2623" y="277"/>
                    <a:pt x="2623" y="277"/>
                    <a:pt x="2623" y="277"/>
                  </a:cubicBezTo>
                  <a:cubicBezTo>
                    <a:pt x="2624" y="277"/>
                    <a:pt x="2624" y="277"/>
                    <a:pt x="2624" y="277"/>
                  </a:cubicBezTo>
                  <a:cubicBezTo>
                    <a:pt x="2626" y="280"/>
                    <a:pt x="2628" y="283"/>
                    <a:pt x="2630" y="286"/>
                  </a:cubicBezTo>
                  <a:cubicBezTo>
                    <a:pt x="2632" y="284"/>
                    <a:pt x="2634" y="282"/>
                    <a:pt x="2637" y="279"/>
                  </a:cubicBezTo>
                  <a:cubicBezTo>
                    <a:pt x="2637" y="279"/>
                    <a:pt x="2637" y="279"/>
                    <a:pt x="2637" y="279"/>
                  </a:cubicBezTo>
                  <a:cubicBezTo>
                    <a:pt x="2638" y="279"/>
                    <a:pt x="2638" y="279"/>
                    <a:pt x="2638" y="279"/>
                  </a:cubicBezTo>
                  <a:cubicBezTo>
                    <a:pt x="2645" y="282"/>
                    <a:pt x="2651" y="284"/>
                    <a:pt x="2658" y="287"/>
                  </a:cubicBezTo>
                  <a:cubicBezTo>
                    <a:pt x="2664" y="154"/>
                    <a:pt x="2664" y="154"/>
                    <a:pt x="2664" y="154"/>
                  </a:cubicBezTo>
                  <a:cubicBezTo>
                    <a:pt x="2665" y="144"/>
                    <a:pt x="2694" y="146"/>
                    <a:pt x="2693" y="157"/>
                  </a:cubicBezTo>
                  <a:cubicBezTo>
                    <a:pt x="2694" y="280"/>
                    <a:pt x="2694" y="280"/>
                    <a:pt x="2694" y="280"/>
                  </a:cubicBezTo>
                  <a:cubicBezTo>
                    <a:pt x="2695" y="279"/>
                    <a:pt x="2697" y="278"/>
                    <a:pt x="2699" y="277"/>
                  </a:cubicBezTo>
                  <a:cubicBezTo>
                    <a:pt x="2699" y="276"/>
                    <a:pt x="2699" y="276"/>
                    <a:pt x="2699" y="276"/>
                  </a:cubicBezTo>
                  <a:cubicBezTo>
                    <a:pt x="2700" y="277"/>
                    <a:pt x="2700" y="277"/>
                    <a:pt x="2700" y="277"/>
                  </a:cubicBezTo>
                  <a:cubicBezTo>
                    <a:pt x="2711" y="281"/>
                    <a:pt x="2711" y="280"/>
                    <a:pt x="2717" y="290"/>
                  </a:cubicBezTo>
                  <a:cubicBezTo>
                    <a:pt x="2718" y="291"/>
                    <a:pt x="2718" y="291"/>
                    <a:pt x="2718" y="291"/>
                  </a:cubicBezTo>
                  <a:cubicBezTo>
                    <a:pt x="2717" y="292"/>
                    <a:pt x="2717" y="292"/>
                    <a:pt x="2717" y="292"/>
                  </a:cubicBezTo>
                  <a:cubicBezTo>
                    <a:pt x="2717" y="292"/>
                    <a:pt x="2716" y="292"/>
                    <a:pt x="2716" y="292"/>
                  </a:cubicBezTo>
                  <a:cubicBezTo>
                    <a:pt x="2716" y="293"/>
                    <a:pt x="2717" y="293"/>
                    <a:pt x="2718" y="293"/>
                  </a:cubicBezTo>
                  <a:cubicBezTo>
                    <a:pt x="2718" y="293"/>
                    <a:pt x="2718" y="293"/>
                    <a:pt x="2718" y="293"/>
                  </a:cubicBezTo>
                  <a:cubicBezTo>
                    <a:pt x="2718" y="294"/>
                    <a:pt x="2718" y="294"/>
                    <a:pt x="2718" y="294"/>
                  </a:cubicBezTo>
                  <a:cubicBezTo>
                    <a:pt x="2718" y="299"/>
                    <a:pt x="2718" y="304"/>
                    <a:pt x="2718" y="308"/>
                  </a:cubicBezTo>
                  <a:cubicBezTo>
                    <a:pt x="2719" y="309"/>
                    <a:pt x="2720" y="309"/>
                    <a:pt x="2720" y="309"/>
                  </a:cubicBezTo>
                  <a:cubicBezTo>
                    <a:pt x="2721" y="309"/>
                    <a:pt x="2721" y="309"/>
                    <a:pt x="2721" y="309"/>
                  </a:cubicBezTo>
                  <a:cubicBezTo>
                    <a:pt x="2721" y="310"/>
                    <a:pt x="2721" y="310"/>
                    <a:pt x="2721" y="310"/>
                  </a:cubicBezTo>
                  <a:cubicBezTo>
                    <a:pt x="2721" y="314"/>
                    <a:pt x="2721" y="317"/>
                    <a:pt x="2721" y="320"/>
                  </a:cubicBezTo>
                  <a:cubicBezTo>
                    <a:pt x="2727" y="317"/>
                    <a:pt x="2733" y="314"/>
                    <a:pt x="2739" y="311"/>
                  </a:cubicBezTo>
                  <a:cubicBezTo>
                    <a:pt x="2741" y="286"/>
                    <a:pt x="2742" y="261"/>
                    <a:pt x="2743" y="235"/>
                  </a:cubicBezTo>
                  <a:cubicBezTo>
                    <a:pt x="2741" y="233"/>
                    <a:pt x="2741" y="229"/>
                    <a:pt x="2742" y="227"/>
                  </a:cubicBezTo>
                  <a:cubicBezTo>
                    <a:pt x="2743" y="221"/>
                    <a:pt x="2749" y="220"/>
                    <a:pt x="2754" y="220"/>
                  </a:cubicBezTo>
                  <a:cubicBezTo>
                    <a:pt x="2759" y="221"/>
                    <a:pt x="2764" y="223"/>
                    <a:pt x="2765" y="228"/>
                  </a:cubicBezTo>
                  <a:cubicBezTo>
                    <a:pt x="2766" y="231"/>
                    <a:pt x="2766" y="235"/>
                    <a:pt x="2763" y="237"/>
                  </a:cubicBezTo>
                  <a:cubicBezTo>
                    <a:pt x="2763" y="300"/>
                    <a:pt x="2763" y="300"/>
                    <a:pt x="2763" y="300"/>
                  </a:cubicBezTo>
                  <a:cubicBezTo>
                    <a:pt x="2803" y="282"/>
                    <a:pt x="2803" y="282"/>
                    <a:pt x="2803" y="282"/>
                  </a:cubicBezTo>
                  <a:cubicBezTo>
                    <a:pt x="2803" y="503"/>
                    <a:pt x="2803" y="503"/>
                    <a:pt x="2803" y="503"/>
                  </a:cubicBezTo>
                  <a:cubicBezTo>
                    <a:pt x="1222" y="503"/>
                    <a:pt x="1222" y="503"/>
                    <a:pt x="1222" y="503"/>
                  </a:cubicBezTo>
                  <a:cubicBezTo>
                    <a:pt x="0" y="503"/>
                    <a:pt x="0" y="503"/>
                    <a:pt x="0" y="503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19" y="273"/>
                    <a:pt x="19" y="273"/>
                    <a:pt x="19" y="273"/>
                  </a:cubicBezTo>
                  <a:cubicBezTo>
                    <a:pt x="22" y="194"/>
                    <a:pt x="22" y="194"/>
                    <a:pt x="22" y="194"/>
                  </a:cubicBezTo>
                  <a:cubicBezTo>
                    <a:pt x="20" y="193"/>
                    <a:pt x="18" y="192"/>
                    <a:pt x="18" y="190"/>
                  </a:cubicBezTo>
                  <a:cubicBezTo>
                    <a:pt x="18" y="188"/>
                    <a:pt x="18" y="185"/>
                    <a:pt x="18" y="183"/>
                  </a:cubicBezTo>
                  <a:cubicBezTo>
                    <a:pt x="18" y="182"/>
                    <a:pt x="18" y="182"/>
                    <a:pt x="18" y="182"/>
                  </a:cubicBezTo>
                  <a:cubicBezTo>
                    <a:pt x="18" y="182"/>
                    <a:pt x="18" y="182"/>
                    <a:pt x="18" y="182"/>
                  </a:cubicBezTo>
                  <a:cubicBezTo>
                    <a:pt x="20" y="177"/>
                    <a:pt x="33" y="176"/>
                    <a:pt x="37" y="176"/>
                  </a:cubicBezTo>
                  <a:cubicBezTo>
                    <a:pt x="42" y="175"/>
                    <a:pt x="56" y="176"/>
                    <a:pt x="56" y="182"/>
                  </a:cubicBezTo>
                  <a:cubicBezTo>
                    <a:pt x="56" y="182"/>
                    <a:pt x="56" y="182"/>
                    <a:pt x="56" y="182"/>
                  </a:cubicBezTo>
                  <a:cubicBezTo>
                    <a:pt x="56" y="183"/>
                    <a:pt x="56" y="183"/>
                    <a:pt x="56" y="183"/>
                  </a:cubicBezTo>
                  <a:cubicBezTo>
                    <a:pt x="56" y="185"/>
                    <a:pt x="56" y="188"/>
                    <a:pt x="56" y="190"/>
                  </a:cubicBezTo>
                  <a:cubicBezTo>
                    <a:pt x="56" y="192"/>
                    <a:pt x="55" y="193"/>
                    <a:pt x="54" y="194"/>
                  </a:cubicBezTo>
                  <a:cubicBezTo>
                    <a:pt x="55" y="215"/>
                    <a:pt x="55" y="215"/>
                    <a:pt x="55" y="215"/>
                  </a:cubicBezTo>
                  <a:cubicBezTo>
                    <a:pt x="112" y="238"/>
                    <a:pt x="112" y="238"/>
                    <a:pt x="112" y="238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3" y="148"/>
                    <a:pt x="111" y="146"/>
                    <a:pt x="111" y="144"/>
                  </a:cubicBezTo>
                  <a:cubicBezTo>
                    <a:pt x="111" y="141"/>
                    <a:pt x="111" y="138"/>
                    <a:pt x="111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2" y="128"/>
                    <a:pt x="126" y="127"/>
                    <a:pt x="131" y="127"/>
                  </a:cubicBezTo>
                  <a:cubicBezTo>
                    <a:pt x="137" y="127"/>
                    <a:pt x="152" y="128"/>
                    <a:pt x="152" y="135"/>
                  </a:cubicBezTo>
                  <a:cubicBezTo>
                    <a:pt x="152" y="135"/>
                    <a:pt x="152" y="135"/>
                    <a:pt x="152" y="135"/>
                  </a:cubicBezTo>
                  <a:cubicBezTo>
                    <a:pt x="152" y="135"/>
                    <a:pt x="152" y="135"/>
                    <a:pt x="152" y="135"/>
                  </a:cubicBezTo>
                  <a:cubicBezTo>
                    <a:pt x="152" y="138"/>
                    <a:pt x="152" y="141"/>
                    <a:pt x="152" y="144"/>
                  </a:cubicBezTo>
                  <a:cubicBezTo>
                    <a:pt x="152" y="146"/>
                    <a:pt x="151" y="147"/>
                    <a:pt x="150" y="148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88" y="269"/>
                    <a:pt x="188" y="269"/>
                    <a:pt x="188" y="269"/>
                  </a:cubicBezTo>
                  <a:cubicBezTo>
                    <a:pt x="188" y="254"/>
                    <a:pt x="188" y="254"/>
                    <a:pt x="188" y="254"/>
                  </a:cubicBezTo>
                  <a:cubicBezTo>
                    <a:pt x="194" y="252"/>
                    <a:pt x="194" y="252"/>
                    <a:pt x="194" y="252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195" y="228"/>
                    <a:pt x="195" y="228"/>
                    <a:pt x="195" y="228"/>
                  </a:cubicBezTo>
                  <a:cubicBezTo>
                    <a:pt x="206" y="215"/>
                    <a:pt x="206" y="215"/>
                    <a:pt x="206" y="215"/>
                  </a:cubicBezTo>
                  <a:cubicBezTo>
                    <a:pt x="228" y="209"/>
                    <a:pt x="228" y="209"/>
                    <a:pt x="228" y="209"/>
                  </a:cubicBezTo>
                  <a:cubicBezTo>
                    <a:pt x="238" y="216"/>
                    <a:pt x="238" y="216"/>
                    <a:pt x="238" y="216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3" y="35"/>
                    <a:pt x="263" y="34"/>
                    <a:pt x="268" y="34"/>
                  </a:cubicBezTo>
                  <a:cubicBezTo>
                    <a:pt x="274" y="34"/>
                    <a:pt x="293" y="35"/>
                    <a:pt x="293" y="44"/>
                  </a:cubicBezTo>
                  <a:cubicBezTo>
                    <a:pt x="299" y="226"/>
                    <a:pt x="299" y="226"/>
                    <a:pt x="299" y="226"/>
                  </a:cubicBezTo>
                  <a:cubicBezTo>
                    <a:pt x="336" y="217"/>
                    <a:pt x="336" y="217"/>
                    <a:pt x="336" y="217"/>
                  </a:cubicBezTo>
                  <a:cubicBezTo>
                    <a:pt x="427" y="295"/>
                    <a:pt x="427" y="295"/>
                    <a:pt x="427" y="295"/>
                  </a:cubicBezTo>
                  <a:cubicBezTo>
                    <a:pt x="427" y="309"/>
                    <a:pt x="427" y="309"/>
                    <a:pt x="427" y="309"/>
                  </a:cubicBezTo>
                  <a:cubicBezTo>
                    <a:pt x="437" y="308"/>
                    <a:pt x="437" y="308"/>
                    <a:pt x="437" y="308"/>
                  </a:cubicBezTo>
                  <a:cubicBezTo>
                    <a:pt x="437" y="298"/>
                    <a:pt x="437" y="298"/>
                    <a:pt x="437" y="298"/>
                  </a:cubicBezTo>
                  <a:cubicBezTo>
                    <a:pt x="436" y="297"/>
                    <a:pt x="434" y="296"/>
                    <a:pt x="434" y="294"/>
                  </a:cubicBezTo>
                  <a:cubicBezTo>
                    <a:pt x="434" y="289"/>
                    <a:pt x="432" y="286"/>
                    <a:pt x="437" y="284"/>
                  </a:cubicBezTo>
                  <a:cubicBezTo>
                    <a:pt x="437" y="282"/>
                    <a:pt x="437" y="282"/>
                    <a:pt x="437" y="282"/>
                  </a:cubicBezTo>
                  <a:cubicBezTo>
                    <a:pt x="436" y="282"/>
                    <a:pt x="434" y="280"/>
                    <a:pt x="434" y="278"/>
                  </a:cubicBezTo>
                  <a:cubicBezTo>
                    <a:pt x="434" y="273"/>
                    <a:pt x="432" y="270"/>
                    <a:pt x="437" y="268"/>
                  </a:cubicBezTo>
                  <a:cubicBezTo>
                    <a:pt x="437" y="267"/>
                    <a:pt x="437" y="267"/>
                    <a:pt x="437" y="267"/>
                  </a:cubicBezTo>
                  <a:cubicBezTo>
                    <a:pt x="436" y="266"/>
                    <a:pt x="434" y="265"/>
                    <a:pt x="434" y="263"/>
                  </a:cubicBezTo>
                  <a:cubicBezTo>
                    <a:pt x="434" y="258"/>
                    <a:pt x="432" y="255"/>
                    <a:pt x="437" y="253"/>
                  </a:cubicBezTo>
                  <a:cubicBezTo>
                    <a:pt x="437" y="245"/>
                    <a:pt x="437" y="245"/>
                    <a:pt x="437" y="245"/>
                  </a:cubicBezTo>
                  <a:cubicBezTo>
                    <a:pt x="438" y="245"/>
                    <a:pt x="438" y="245"/>
                    <a:pt x="438" y="245"/>
                  </a:cubicBezTo>
                  <a:cubicBezTo>
                    <a:pt x="441" y="238"/>
                    <a:pt x="467" y="238"/>
                    <a:pt x="471" y="245"/>
                  </a:cubicBezTo>
                  <a:cubicBezTo>
                    <a:pt x="471" y="245"/>
                    <a:pt x="471" y="245"/>
                    <a:pt x="471" y="245"/>
                  </a:cubicBezTo>
                  <a:cubicBezTo>
                    <a:pt x="471" y="253"/>
                    <a:pt x="471" y="253"/>
                    <a:pt x="471" y="253"/>
                  </a:cubicBezTo>
                  <a:cubicBezTo>
                    <a:pt x="475" y="255"/>
                    <a:pt x="474" y="259"/>
                    <a:pt x="474" y="263"/>
                  </a:cubicBezTo>
                  <a:cubicBezTo>
                    <a:pt x="474" y="265"/>
                    <a:pt x="472" y="266"/>
                    <a:pt x="471" y="267"/>
                  </a:cubicBezTo>
                  <a:cubicBezTo>
                    <a:pt x="471" y="268"/>
                    <a:pt x="471" y="268"/>
                    <a:pt x="471" y="268"/>
                  </a:cubicBezTo>
                  <a:cubicBezTo>
                    <a:pt x="475" y="270"/>
                    <a:pt x="474" y="274"/>
                    <a:pt x="474" y="278"/>
                  </a:cubicBezTo>
                  <a:cubicBezTo>
                    <a:pt x="474" y="280"/>
                    <a:pt x="472" y="281"/>
                    <a:pt x="471" y="282"/>
                  </a:cubicBezTo>
                  <a:cubicBezTo>
                    <a:pt x="471" y="284"/>
                    <a:pt x="471" y="284"/>
                    <a:pt x="471" y="284"/>
                  </a:cubicBezTo>
                  <a:cubicBezTo>
                    <a:pt x="475" y="286"/>
                    <a:pt x="474" y="290"/>
                    <a:pt x="474" y="294"/>
                  </a:cubicBezTo>
                  <a:cubicBezTo>
                    <a:pt x="474" y="296"/>
                    <a:pt x="472" y="297"/>
                    <a:pt x="471" y="298"/>
                  </a:cubicBezTo>
                  <a:cubicBezTo>
                    <a:pt x="471" y="303"/>
                    <a:pt x="471" y="303"/>
                    <a:pt x="471" y="303"/>
                  </a:cubicBezTo>
                  <a:cubicBezTo>
                    <a:pt x="475" y="303"/>
                    <a:pt x="475" y="303"/>
                    <a:pt x="475" y="303"/>
                  </a:cubicBezTo>
                  <a:cubicBezTo>
                    <a:pt x="482" y="311"/>
                    <a:pt x="482" y="311"/>
                    <a:pt x="482" y="311"/>
                  </a:cubicBezTo>
                  <a:cubicBezTo>
                    <a:pt x="490" y="304"/>
                    <a:pt x="490" y="304"/>
                    <a:pt x="490" y="304"/>
                  </a:cubicBezTo>
                  <a:cubicBezTo>
                    <a:pt x="513" y="310"/>
                    <a:pt x="513" y="310"/>
                    <a:pt x="513" y="310"/>
                  </a:cubicBezTo>
                  <a:cubicBezTo>
                    <a:pt x="517" y="196"/>
                    <a:pt x="517" y="196"/>
                    <a:pt x="517" y="196"/>
                  </a:cubicBezTo>
                  <a:cubicBezTo>
                    <a:pt x="517" y="191"/>
                    <a:pt x="529" y="190"/>
                    <a:pt x="532" y="190"/>
                  </a:cubicBezTo>
                  <a:cubicBezTo>
                    <a:pt x="536" y="190"/>
                    <a:pt x="549" y="191"/>
                    <a:pt x="548" y="197"/>
                  </a:cubicBezTo>
                  <a:cubicBezTo>
                    <a:pt x="552" y="303"/>
                    <a:pt x="552" y="303"/>
                    <a:pt x="552" y="303"/>
                  </a:cubicBezTo>
                  <a:cubicBezTo>
                    <a:pt x="558" y="299"/>
                    <a:pt x="558" y="299"/>
                    <a:pt x="558" y="299"/>
                  </a:cubicBezTo>
                  <a:cubicBezTo>
                    <a:pt x="572" y="303"/>
                    <a:pt x="572" y="303"/>
                    <a:pt x="572" y="303"/>
                  </a:cubicBezTo>
                  <a:cubicBezTo>
                    <a:pt x="579" y="312"/>
                    <a:pt x="579" y="312"/>
                    <a:pt x="579" y="312"/>
                  </a:cubicBezTo>
                  <a:cubicBezTo>
                    <a:pt x="577" y="313"/>
                    <a:pt x="577" y="313"/>
                    <a:pt x="577" y="313"/>
                  </a:cubicBezTo>
                  <a:cubicBezTo>
                    <a:pt x="579" y="313"/>
                    <a:pt x="579" y="313"/>
                    <a:pt x="579" y="313"/>
                  </a:cubicBezTo>
                  <a:cubicBezTo>
                    <a:pt x="579" y="326"/>
                    <a:pt x="579" y="326"/>
                    <a:pt x="579" y="326"/>
                  </a:cubicBezTo>
                  <a:cubicBezTo>
                    <a:pt x="583" y="327"/>
                    <a:pt x="583" y="327"/>
                    <a:pt x="583" y="327"/>
                  </a:cubicBezTo>
                  <a:cubicBezTo>
                    <a:pt x="583" y="337"/>
                    <a:pt x="583" y="337"/>
                    <a:pt x="583" y="337"/>
                  </a:cubicBezTo>
                  <a:cubicBezTo>
                    <a:pt x="604" y="328"/>
                    <a:pt x="604" y="328"/>
                    <a:pt x="604" y="328"/>
                  </a:cubicBezTo>
                  <a:cubicBezTo>
                    <a:pt x="606" y="262"/>
                    <a:pt x="606" y="262"/>
                    <a:pt x="606" y="262"/>
                  </a:cubicBezTo>
                  <a:cubicBezTo>
                    <a:pt x="605" y="261"/>
                    <a:pt x="605" y="260"/>
                    <a:pt x="605" y="259"/>
                  </a:cubicBezTo>
                  <a:cubicBezTo>
                    <a:pt x="605" y="257"/>
                    <a:pt x="605" y="255"/>
                    <a:pt x="605" y="253"/>
                  </a:cubicBezTo>
                  <a:cubicBezTo>
                    <a:pt x="605" y="253"/>
                    <a:pt x="605" y="253"/>
                    <a:pt x="605" y="253"/>
                  </a:cubicBezTo>
                  <a:cubicBezTo>
                    <a:pt x="605" y="253"/>
                    <a:pt x="605" y="253"/>
                    <a:pt x="605" y="253"/>
                  </a:cubicBezTo>
                  <a:cubicBezTo>
                    <a:pt x="605" y="248"/>
                    <a:pt x="615" y="248"/>
                    <a:pt x="618" y="248"/>
                  </a:cubicBezTo>
                  <a:cubicBezTo>
                    <a:pt x="621" y="248"/>
                    <a:pt x="630" y="249"/>
                    <a:pt x="631" y="253"/>
                  </a:cubicBezTo>
                  <a:cubicBezTo>
                    <a:pt x="631" y="253"/>
                    <a:pt x="631" y="253"/>
                    <a:pt x="631" y="253"/>
                  </a:cubicBezTo>
                  <a:cubicBezTo>
                    <a:pt x="631" y="253"/>
                    <a:pt x="631" y="253"/>
                    <a:pt x="631" y="253"/>
                  </a:cubicBezTo>
                  <a:cubicBezTo>
                    <a:pt x="631" y="255"/>
                    <a:pt x="631" y="257"/>
                    <a:pt x="631" y="259"/>
                  </a:cubicBezTo>
                  <a:cubicBezTo>
                    <a:pt x="631" y="260"/>
                    <a:pt x="630" y="262"/>
                    <a:pt x="629" y="262"/>
                  </a:cubicBezTo>
                  <a:cubicBezTo>
                    <a:pt x="631" y="317"/>
                    <a:pt x="631" y="317"/>
                    <a:pt x="631" y="317"/>
                  </a:cubicBezTo>
                  <a:cubicBezTo>
                    <a:pt x="666" y="303"/>
                    <a:pt x="666" y="303"/>
                    <a:pt x="666" y="303"/>
                  </a:cubicBezTo>
                  <a:cubicBezTo>
                    <a:pt x="666" y="290"/>
                    <a:pt x="666" y="290"/>
                    <a:pt x="666" y="290"/>
                  </a:cubicBezTo>
                  <a:cubicBezTo>
                    <a:pt x="665" y="290"/>
                    <a:pt x="664" y="289"/>
                    <a:pt x="664" y="288"/>
                  </a:cubicBezTo>
                  <a:cubicBezTo>
                    <a:pt x="664" y="286"/>
                    <a:pt x="664" y="285"/>
                    <a:pt x="664" y="283"/>
                  </a:cubicBezTo>
                  <a:cubicBezTo>
                    <a:pt x="664" y="283"/>
                    <a:pt x="664" y="283"/>
                    <a:pt x="664" y="283"/>
                  </a:cubicBezTo>
                  <a:cubicBezTo>
                    <a:pt x="664" y="283"/>
                    <a:pt x="664" y="283"/>
                    <a:pt x="664" y="283"/>
                  </a:cubicBezTo>
                  <a:cubicBezTo>
                    <a:pt x="665" y="279"/>
                    <a:pt x="674" y="278"/>
                    <a:pt x="677" y="278"/>
                  </a:cubicBezTo>
                  <a:cubicBezTo>
                    <a:pt x="680" y="278"/>
                    <a:pt x="688" y="279"/>
                    <a:pt x="689" y="283"/>
                  </a:cubicBezTo>
                  <a:cubicBezTo>
                    <a:pt x="689" y="283"/>
                    <a:pt x="689" y="283"/>
                    <a:pt x="689" y="283"/>
                  </a:cubicBezTo>
                  <a:cubicBezTo>
                    <a:pt x="689" y="283"/>
                    <a:pt x="689" y="283"/>
                    <a:pt x="689" y="283"/>
                  </a:cubicBezTo>
                  <a:cubicBezTo>
                    <a:pt x="689" y="285"/>
                    <a:pt x="689" y="286"/>
                    <a:pt x="689" y="288"/>
                  </a:cubicBezTo>
                  <a:cubicBezTo>
                    <a:pt x="689" y="289"/>
                    <a:pt x="688" y="290"/>
                    <a:pt x="687" y="291"/>
                  </a:cubicBezTo>
                  <a:cubicBezTo>
                    <a:pt x="687" y="302"/>
                    <a:pt x="687" y="302"/>
                    <a:pt x="687" y="302"/>
                  </a:cubicBezTo>
                  <a:cubicBezTo>
                    <a:pt x="885" y="364"/>
                    <a:pt x="885" y="364"/>
                    <a:pt x="885" y="364"/>
                  </a:cubicBezTo>
                  <a:cubicBezTo>
                    <a:pt x="887" y="362"/>
                    <a:pt x="887" y="362"/>
                    <a:pt x="887" y="362"/>
                  </a:cubicBezTo>
                  <a:cubicBezTo>
                    <a:pt x="899" y="362"/>
                    <a:pt x="899" y="362"/>
                    <a:pt x="899" y="362"/>
                  </a:cubicBezTo>
                  <a:cubicBezTo>
                    <a:pt x="899" y="353"/>
                    <a:pt x="899" y="353"/>
                    <a:pt x="899" y="353"/>
                  </a:cubicBezTo>
                  <a:cubicBezTo>
                    <a:pt x="905" y="345"/>
                    <a:pt x="905" y="345"/>
                    <a:pt x="905" y="345"/>
                  </a:cubicBezTo>
                  <a:cubicBezTo>
                    <a:pt x="971" y="345"/>
                    <a:pt x="971" y="345"/>
                    <a:pt x="971" y="345"/>
                  </a:cubicBezTo>
                  <a:cubicBezTo>
                    <a:pt x="971" y="362"/>
                    <a:pt x="971" y="362"/>
                    <a:pt x="971" y="362"/>
                  </a:cubicBezTo>
                  <a:cubicBezTo>
                    <a:pt x="980" y="362"/>
                    <a:pt x="980" y="362"/>
                    <a:pt x="980" y="362"/>
                  </a:cubicBezTo>
                  <a:cubicBezTo>
                    <a:pt x="980" y="357"/>
                    <a:pt x="980" y="357"/>
                    <a:pt x="980" y="357"/>
                  </a:cubicBezTo>
                  <a:cubicBezTo>
                    <a:pt x="978" y="356"/>
                    <a:pt x="975" y="354"/>
                    <a:pt x="975" y="351"/>
                  </a:cubicBezTo>
                  <a:cubicBezTo>
                    <a:pt x="975" y="348"/>
                    <a:pt x="975" y="344"/>
                    <a:pt x="975" y="341"/>
                  </a:cubicBezTo>
                  <a:cubicBezTo>
                    <a:pt x="975" y="341"/>
                    <a:pt x="975" y="341"/>
                    <a:pt x="975" y="341"/>
                  </a:cubicBezTo>
                  <a:cubicBezTo>
                    <a:pt x="975" y="340"/>
                    <a:pt x="975" y="340"/>
                    <a:pt x="975" y="340"/>
                  </a:cubicBezTo>
                  <a:cubicBezTo>
                    <a:pt x="975" y="338"/>
                    <a:pt x="978" y="336"/>
                    <a:pt x="980" y="335"/>
                  </a:cubicBezTo>
                  <a:cubicBezTo>
                    <a:pt x="980" y="333"/>
                    <a:pt x="980" y="333"/>
                    <a:pt x="980" y="333"/>
                  </a:cubicBezTo>
                  <a:cubicBezTo>
                    <a:pt x="978" y="332"/>
                    <a:pt x="975" y="330"/>
                    <a:pt x="975" y="327"/>
                  </a:cubicBezTo>
                  <a:cubicBezTo>
                    <a:pt x="975" y="324"/>
                    <a:pt x="975" y="320"/>
                    <a:pt x="975" y="317"/>
                  </a:cubicBezTo>
                  <a:cubicBezTo>
                    <a:pt x="975" y="317"/>
                    <a:pt x="975" y="317"/>
                    <a:pt x="975" y="317"/>
                  </a:cubicBezTo>
                  <a:cubicBezTo>
                    <a:pt x="975" y="317"/>
                    <a:pt x="975" y="317"/>
                    <a:pt x="975" y="317"/>
                  </a:cubicBezTo>
                  <a:cubicBezTo>
                    <a:pt x="975" y="314"/>
                    <a:pt x="978" y="313"/>
                    <a:pt x="980" y="312"/>
                  </a:cubicBezTo>
                  <a:cubicBezTo>
                    <a:pt x="980" y="310"/>
                    <a:pt x="980" y="310"/>
                    <a:pt x="980" y="310"/>
                  </a:cubicBezTo>
                  <a:cubicBezTo>
                    <a:pt x="978" y="309"/>
                    <a:pt x="975" y="307"/>
                    <a:pt x="975" y="304"/>
                  </a:cubicBezTo>
                  <a:cubicBezTo>
                    <a:pt x="975" y="301"/>
                    <a:pt x="975" y="297"/>
                    <a:pt x="975" y="294"/>
                  </a:cubicBezTo>
                  <a:cubicBezTo>
                    <a:pt x="975" y="294"/>
                    <a:pt x="975" y="294"/>
                    <a:pt x="975" y="294"/>
                  </a:cubicBezTo>
                  <a:cubicBezTo>
                    <a:pt x="975" y="294"/>
                    <a:pt x="975" y="294"/>
                    <a:pt x="975" y="294"/>
                  </a:cubicBezTo>
                  <a:cubicBezTo>
                    <a:pt x="975" y="291"/>
                    <a:pt x="978" y="290"/>
                    <a:pt x="980" y="289"/>
                  </a:cubicBezTo>
                  <a:cubicBezTo>
                    <a:pt x="980" y="277"/>
                    <a:pt x="980" y="277"/>
                    <a:pt x="980" y="277"/>
                  </a:cubicBezTo>
                  <a:cubicBezTo>
                    <a:pt x="980" y="277"/>
                    <a:pt x="980" y="277"/>
                    <a:pt x="980" y="277"/>
                  </a:cubicBezTo>
                  <a:cubicBezTo>
                    <a:pt x="983" y="270"/>
                    <a:pt x="1000" y="269"/>
                    <a:pt x="1005" y="269"/>
                  </a:cubicBezTo>
                  <a:cubicBezTo>
                    <a:pt x="1010" y="269"/>
                    <a:pt x="1027" y="270"/>
                    <a:pt x="1030" y="277"/>
                  </a:cubicBezTo>
                  <a:cubicBezTo>
                    <a:pt x="1030" y="277"/>
                    <a:pt x="1030" y="277"/>
                    <a:pt x="1030" y="277"/>
                  </a:cubicBezTo>
                  <a:cubicBezTo>
                    <a:pt x="1030" y="289"/>
                    <a:pt x="1030" y="289"/>
                    <a:pt x="1030" y="289"/>
                  </a:cubicBezTo>
                  <a:cubicBezTo>
                    <a:pt x="1032" y="290"/>
                    <a:pt x="1034" y="291"/>
                    <a:pt x="1034" y="294"/>
                  </a:cubicBezTo>
                  <a:cubicBezTo>
                    <a:pt x="1034" y="294"/>
                    <a:pt x="1034" y="294"/>
                    <a:pt x="1034" y="294"/>
                  </a:cubicBezTo>
                  <a:cubicBezTo>
                    <a:pt x="1034" y="294"/>
                    <a:pt x="1034" y="294"/>
                    <a:pt x="1034" y="294"/>
                  </a:cubicBezTo>
                  <a:cubicBezTo>
                    <a:pt x="1034" y="297"/>
                    <a:pt x="1034" y="301"/>
                    <a:pt x="1034" y="304"/>
                  </a:cubicBezTo>
                  <a:cubicBezTo>
                    <a:pt x="1034" y="307"/>
                    <a:pt x="1032" y="308"/>
                    <a:pt x="1030" y="309"/>
                  </a:cubicBezTo>
                  <a:cubicBezTo>
                    <a:pt x="1030" y="312"/>
                    <a:pt x="1030" y="312"/>
                    <a:pt x="1030" y="312"/>
                  </a:cubicBezTo>
                  <a:cubicBezTo>
                    <a:pt x="1032" y="313"/>
                    <a:pt x="1034" y="314"/>
                    <a:pt x="1034" y="317"/>
                  </a:cubicBezTo>
                  <a:cubicBezTo>
                    <a:pt x="1034" y="317"/>
                    <a:pt x="1034" y="317"/>
                    <a:pt x="1034" y="317"/>
                  </a:cubicBezTo>
                  <a:cubicBezTo>
                    <a:pt x="1034" y="317"/>
                    <a:pt x="1034" y="317"/>
                    <a:pt x="1034" y="317"/>
                  </a:cubicBezTo>
                  <a:cubicBezTo>
                    <a:pt x="1034" y="320"/>
                    <a:pt x="1034" y="324"/>
                    <a:pt x="1034" y="327"/>
                  </a:cubicBezTo>
                  <a:cubicBezTo>
                    <a:pt x="1034" y="330"/>
                    <a:pt x="1032" y="331"/>
                    <a:pt x="1030" y="332"/>
                  </a:cubicBezTo>
                  <a:cubicBezTo>
                    <a:pt x="1030" y="336"/>
                    <a:pt x="1030" y="336"/>
                    <a:pt x="1030" y="336"/>
                  </a:cubicBezTo>
                  <a:cubicBezTo>
                    <a:pt x="1032" y="337"/>
                    <a:pt x="1034" y="338"/>
                    <a:pt x="1034" y="341"/>
                  </a:cubicBezTo>
                  <a:cubicBezTo>
                    <a:pt x="1034" y="341"/>
                    <a:pt x="1034" y="341"/>
                    <a:pt x="1034" y="341"/>
                  </a:cubicBezTo>
                  <a:cubicBezTo>
                    <a:pt x="1034" y="341"/>
                    <a:pt x="1034" y="341"/>
                    <a:pt x="1034" y="341"/>
                  </a:cubicBezTo>
                  <a:cubicBezTo>
                    <a:pt x="1034" y="344"/>
                    <a:pt x="1034" y="348"/>
                    <a:pt x="1034" y="351"/>
                  </a:cubicBezTo>
                  <a:cubicBezTo>
                    <a:pt x="1034" y="353"/>
                    <a:pt x="1032" y="355"/>
                    <a:pt x="1030" y="356"/>
                  </a:cubicBezTo>
                  <a:cubicBezTo>
                    <a:pt x="1030" y="362"/>
                    <a:pt x="1030" y="362"/>
                    <a:pt x="1030" y="362"/>
                  </a:cubicBezTo>
                  <a:cubicBezTo>
                    <a:pt x="1039" y="362"/>
                    <a:pt x="1039" y="362"/>
                    <a:pt x="1039" y="362"/>
                  </a:cubicBezTo>
                  <a:cubicBezTo>
                    <a:pt x="1039" y="374"/>
                    <a:pt x="1039" y="374"/>
                    <a:pt x="1039" y="374"/>
                  </a:cubicBezTo>
                  <a:cubicBezTo>
                    <a:pt x="1098" y="374"/>
                    <a:pt x="1098" y="374"/>
                    <a:pt x="1098" y="374"/>
                  </a:cubicBezTo>
                  <a:cubicBezTo>
                    <a:pt x="1098" y="361"/>
                    <a:pt x="1098" y="361"/>
                    <a:pt x="1098" y="361"/>
                  </a:cubicBezTo>
                  <a:cubicBezTo>
                    <a:pt x="1108" y="361"/>
                    <a:pt x="1108" y="361"/>
                    <a:pt x="1108" y="361"/>
                  </a:cubicBezTo>
                  <a:cubicBezTo>
                    <a:pt x="1108" y="344"/>
                    <a:pt x="1108" y="344"/>
                    <a:pt x="1108" y="344"/>
                  </a:cubicBezTo>
                  <a:cubicBezTo>
                    <a:pt x="1108" y="342"/>
                    <a:pt x="1109" y="340"/>
                    <a:pt x="1111" y="340"/>
                  </a:cubicBezTo>
                  <a:cubicBezTo>
                    <a:pt x="1120" y="340"/>
                    <a:pt x="1120" y="340"/>
                    <a:pt x="1120" y="340"/>
                  </a:cubicBezTo>
                  <a:cubicBezTo>
                    <a:pt x="1122" y="340"/>
                    <a:pt x="1123" y="342"/>
                    <a:pt x="1123" y="344"/>
                  </a:cubicBezTo>
                  <a:cubicBezTo>
                    <a:pt x="1123" y="361"/>
                    <a:pt x="1123" y="361"/>
                    <a:pt x="1123" y="361"/>
                  </a:cubicBezTo>
                  <a:cubicBezTo>
                    <a:pt x="1129" y="361"/>
                    <a:pt x="1129" y="361"/>
                    <a:pt x="1129" y="361"/>
                  </a:cubicBezTo>
                  <a:cubicBezTo>
                    <a:pt x="1129" y="344"/>
                    <a:pt x="1129" y="344"/>
                    <a:pt x="1129" y="344"/>
                  </a:cubicBezTo>
                  <a:cubicBezTo>
                    <a:pt x="1129" y="342"/>
                    <a:pt x="1131" y="340"/>
                    <a:pt x="1133" y="340"/>
                  </a:cubicBezTo>
                  <a:cubicBezTo>
                    <a:pt x="1141" y="340"/>
                    <a:pt x="1141" y="340"/>
                    <a:pt x="1141" y="340"/>
                  </a:cubicBezTo>
                  <a:cubicBezTo>
                    <a:pt x="1143" y="340"/>
                    <a:pt x="1145" y="342"/>
                    <a:pt x="1145" y="344"/>
                  </a:cubicBezTo>
                  <a:cubicBezTo>
                    <a:pt x="1145" y="361"/>
                    <a:pt x="1145" y="361"/>
                    <a:pt x="1145" y="361"/>
                  </a:cubicBezTo>
                  <a:cubicBezTo>
                    <a:pt x="1198" y="361"/>
                    <a:pt x="1198" y="361"/>
                    <a:pt x="1198" y="361"/>
                  </a:cubicBezTo>
                  <a:cubicBezTo>
                    <a:pt x="1212" y="376"/>
                    <a:pt x="1212" y="376"/>
                    <a:pt x="1212" y="376"/>
                  </a:cubicBezTo>
                  <a:cubicBezTo>
                    <a:pt x="1212" y="383"/>
                    <a:pt x="1212" y="383"/>
                    <a:pt x="1212" y="383"/>
                  </a:cubicBezTo>
                  <a:cubicBezTo>
                    <a:pt x="1263" y="383"/>
                    <a:pt x="1263" y="383"/>
                    <a:pt x="1263" y="383"/>
                  </a:cubicBezTo>
                  <a:cubicBezTo>
                    <a:pt x="1263" y="279"/>
                    <a:pt x="1263" y="279"/>
                    <a:pt x="1263" y="279"/>
                  </a:cubicBezTo>
                  <a:cubicBezTo>
                    <a:pt x="1263" y="268"/>
                    <a:pt x="1272" y="259"/>
                    <a:pt x="1283" y="259"/>
                  </a:cubicBezTo>
                  <a:cubicBezTo>
                    <a:pt x="1291" y="259"/>
                    <a:pt x="1291" y="259"/>
                    <a:pt x="1291" y="259"/>
                  </a:cubicBezTo>
                  <a:cubicBezTo>
                    <a:pt x="1294" y="247"/>
                    <a:pt x="1306" y="238"/>
                    <a:pt x="1319" y="238"/>
                  </a:cubicBezTo>
                  <a:cubicBezTo>
                    <a:pt x="1346" y="238"/>
                    <a:pt x="1346" y="238"/>
                    <a:pt x="1346" y="238"/>
                  </a:cubicBezTo>
                  <a:cubicBezTo>
                    <a:pt x="1350" y="224"/>
                    <a:pt x="1368" y="218"/>
                    <a:pt x="1381" y="216"/>
                  </a:cubicBezTo>
                  <a:cubicBezTo>
                    <a:pt x="1381" y="210"/>
                    <a:pt x="1381" y="210"/>
                    <a:pt x="1381" y="210"/>
                  </a:cubicBezTo>
                  <a:cubicBezTo>
                    <a:pt x="1381" y="208"/>
                    <a:pt x="1383" y="207"/>
                    <a:pt x="1385" y="207"/>
                  </a:cubicBezTo>
                  <a:cubicBezTo>
                    <a:pt x="1399" y="207"/>
                    <a:pt x="1399" y="207"/>
                    <a:pt x="1399" y="207"/>
                  </a:cubicBezTo>
                  <a:cubicBezTo>
                    <a:pt x="1401" y="207"/>
                    <a:pt x="1403" y="208"/>
                    <a:pt x="1403" y="210"/>
                  </a:cubicBezTo>
                  <a:cubicBezTo>
                    <a:pt x="1403" y="216"/>
                    <a:pt x="1403" y="216"/>
                    <a:pt x="1403" y="216"/>
                  </a:cubicBezTo>
                  <a:cubicBezTo>
                    <a:pt x="1418" y="218"/>
                    <a:pt x="1439" y="226"/>
                    <a:pt x="1439" y="244"/>
                  </a:cubicBezTo>
                  <a:cubicBezTo>
                    <a:pt x="1439" y="360"/>
                    <a:pt x="1439" y="360"/>
                    <a:pt x="1439" y="360"/>
                  </a:cubicBezTo>
                  <a:cubicBezTo>
                    <a:pt x="1446" y="360"/>
                    <a:pt x="1446" y="360"/>
                    <a:pt x="1446" y="360"/>
                  </a:cubicBezTo>
                  <a:cubicBezTo>
                    <a:pt x="1446" y="244"/>
                    <a:pt x="1446" y="244"/>
                    <a:pt x="1446" y="244"/>
                  </a:cubicBezTo>
                  <a:cubicBezTo>
                    <a:pt x="1446" y="226"/>
                    <a:pt x="1467" y="218"/>
                    <a:pt x="1482" y="216"/>
                  </a:cubicBezTo>
                  <a:cubicBezTo>
                    <a:pt x="1482" y="210"/>
                    <a:pt x="1482" y="210"/>
                    <a:pt x="1482" y="210"/>
                  </a:cubicBezTo>
                  <a:cubicBezTo>
                    <a:pt x="1482" y="208"/>
                    <a:pt x="1484" y="207"/>
                    <a:pt x="1486" y="207"/>
                  </a:cubicBezTo>
                  <a:cubicBezTo>
                    <a:pt x="1500" y="207"/>
                    <a:pt x="1500" y="207"/>
                    <a:pt x="1500" y="207"/>
                  </a:cubicBezTo>
                  <a:cubicBezTo>
                    <a:pt x="1502" y="207"/>
                    <a:pt x="1504" y="208"/>
                    <a:pt x="1504" y="210"/>
                  </a:cubicBezTo>
                  <a:cubicBezTo>
                    <a:pt x="1504" y="216"/>
                    <a:pt x="1504" y="216"/>
                    <a:pt x="1504" y="216"/>
                  </a:cubicBezTo>
                  <a:cubicBezTo>
                    <a:pt x="1519" y="218"/>
                    <a:pt x="1539" y="226"/>
                    <a:pt x="1539" y="244"/>
                  </a:cubicBezTo>
                  <a:cubicBezTo>
                    <a:pt x="1539" y="360"/>
                    <a:pt x="1539" y="360"/>
                    <a:pt x="1539" y="360"/>
                  </a:cubicBezTo>
                  <a:cubicBezTo>
                    <a:pt x="1547" y="360"/>
                    <a:pt x="1547" y="360"/>
                    <a:pt x="1547" y="360"/>
                  </a:cubicBezTo>
                  <a:cubicBezTo>
                    <a:pt x="1547" y="244"/>
                    <a:pt x="1547" y="244"/>
                    <a:pt x="1547" y="244"/>
                  </a:cubicBezTo>
                  <a:cubicBezTo>
                    <a:pt x="1547" y="226"/>
                    <a:pt x="1568" y="218"/>
                    <a:pt x="1582" y="216"/>
                  </a:cubicBezTo>
                  <a:cubicBezTo>
                    <a:pt x="1582" y="210"/>
                    <a:pt x="1582" y="210"/>
                    <a:pt x="1582" y="210"/>
                  </a:cubicBezTo>
                  <a:cubicBezTo>
                    <a:pt x="1582" y="208"/>
                    <a:pt x="1585" y="207"/>
                    <a:pt x="1587" y="207"/>
                  </a:cubicBezTo>
                  <a:cubicBezTo>
                    <a:pt x="1601" y="207"/>
                    <a:pt x="1601" y="207"/>
                    <a:pt x="1601" y="207"/>
                  </a:cubicBezTo>
                  <a:cubicBezTo>
                    <a:pt x="1603" y="207"/>
                    <a:pt x="1605" y="208"/>
                    <a:pt x="1605" y="210"/>
                  </a:cubicBezTo>
                  <a:cubicBezTo>
                    <a:pt x="1605" y="216"/>
                    <a:pt x="1605" y="216"/>
                    <a:pt x="1605" y="216"/>
                  </a:cubicBezTo>
                  <a:cubicBezTo>
                    <a:pt x="1620" y="218"/>
                    <a:pt x="1640" y="226"/>
                    <a:pt x="1640" y="244"/>
                  </a:cubicBezTo>
                  <a:cubicBezTo>
                    <a:pt x="1640" y="288"/>
                    <a:pt x="1640" y="288"/>
                    <a:pt x="1640" y="288"/>
                  </a:cubicBezTo>
                  <a:cubicBezTo>
                    <a:pt x="1669" y="288"/>
                    <a:pt x="1669" y="288"/>
                    <a:pt x="1669" y="288"/>
                  </a:cubicBezTo>
                  <a:cubicBezTo>
                    <a:pt x="1684" y="288"/>
                    <a:pt x="1697" y="300"/>
                    <a:pt x="1698" y="315"/>
                  </a:cubicBezTo>
                  <a:cubicBezTo>
                    <a:pt x="1701" y="315"/>
                    <a:pt x="1701" y="315"/>
                    <a:pt x="1701" y="315"/>
                  </a:cubicBezTo>
                  <a:cubicBezTo>
                    <a:pt x="1716" y="315"/>
                    <a:pt x="1728" y="326"/>
                    <a:pt x="1730" y="340"/>
                  </a:cubicBezTo>
                  <a:cubicBezTo>
                    <a:pt x="1769" y="333"/>
                    <a:pt x="1769" y="333"/>
                    <a:pt x="1769" y="333"/>
                  </a:cubicBezTo>
                  <a:cubicBezTo>
                    <a:pt x="1800" y="351"/>
                    <a:pt x="1800" y="351"/>
                    <a:pt x="1800" y="351"/>
                  </a:cubicBezTo>
                  <a:cubicBezTo>
                    <a:pt x="1800" y="342"/>
                    <a:pt x="1800" y="334"/>
                    <a:pt x="1800" y="325"/>
                  </a:cubicBezTo>
                  <a:cubicBezTo>
                    <a:pt x="1794" y="324"/>
                    <a:pt x="1792" y="321"/>
                    <a:pt x="1794" y="314"/>
                  </a:cubicBezTo>
                  <a:cubicBezTo>
                    <a:pt x="1794" y="314"/>
                    <a:pt x="1794" y="314"/>
                    <a:pt x="1794" y="314"/>
                  </a:cubicBezTo>
                  <a:cubicBezTo>
                    <a:pt x="1794" y="314"/>
                    <a:pt x="1794" y="314"/>
                    <a:pt x="1794" y="314"/>
                  </a:cubicBezTo>
                  <a:cubicBezTo>
                    <a:pt x="1795" y="312"/>
                    <a:pt x="1798" y="311"/>
                    <a:pt x="1801" y="311"/>
                  </a:cubicBezTo>
                  <a:cubicBezTo>
                    <a:pt x="1801" y="310"/>
                    <a:pt x="1801" y="310"/>
                    <a:pt x="1801" y="310"/>
                  </a:cubicBezTo>
                  <a:cubicBezTo>
                    <a:pt x="1793" y="308"/>
                    <a:pt x="1793" y="306"/>
                    <a:pt x="1794" y="299"/>
                  </a:cubicBezTo>
                  <a:cubicBezTo>
                    <a:pt x="1794" y="299"/>
                    <a:pt x="1794" y="299"/>
                    <a:pt x="1794" y="299"/>
                  </a:cubicBezTo>
                  <a:cubicBezTo>
                    <a:pt x="1794" y="299"/>
                    <a:pt x="1794" y="299"/>
                    <a:pt x="1794" y="299"/>
                  </a:cubicBezTo>
                  <a:cubicBezTo>
                    <a:pt x="1795" y="297"/>
                    <a:pt x="1798" y="296"/>
                    <a:pt x="1801" y="296"/>
                  </a:cubicBezTo>
                  <a:cubicBezTo>
                    <a:pt x="1801" y="295"/>
                    <a:pt x="1801" y="295"/>
                    <a:pt x="1801" y="295"/>
                  </a:cubicBezTo>
                  <a:cubicBezTo>
                    <a:pt x="1794" y="293"/>
                    <a:pt x="1793" y="291"/>
                    <a:pt x="1794" y="284"/>
                  </a:cubicBezTo>
                  <a:cubicBezTo>
                    <a:pt x="1794" y="284"/>
                    <a:pt x="1794" y="284"/>
                    <a:pt x="1794" y="284"/>
                  </a:cubicBezTo>
                  <a:cubicBezTo>
                    <a:pt x="1794" y="284"/>
                    <a:pt x="1794" y="284"/>
                    <a:pt x="1794" y="284"/>
                  </a:cubicBezTo>
                  <a:cubicBezTo>
                    <a:pt x="1795" y="282"/>
                    <a:pt x="1799" y="281"/>
                    <a:pt x="1801" y="281"/>
                  </a:cubicBezTo>
                  <a:cubicBezTo>
                    <a:pt x="1801" y="279"/>
                    <a:pt x="1801" y="277"/>
                    <a:pt x="1801" y="274"/>
                  </a:cubicBezTo>
                  <a:cubicBezTo>
                    <a:pt x="1801" y="274"/>
                    <a:pt x="1801" y="274"/>
                    <a:pt x="1801" y="274"/>
                  </a:cubicBezTo>
                  <a:cubicBezTo>
                    <a:pt x="1801" y="274"/>
                    <a:pt x="1801" y="274"/>
                    <a:pt x="1801" y="274"/>
                  </a:cubicBezTo>
                  <a:cubicBezTo>
                    <a:pt x="1803" y="269"/>
                    <a:pt x="1826" y="269"/>
                    <a:pt x="1831" y="269"/>
                  </a:cubicBezTo>
                  <a:cubicBezTo>
                    <a:pt x="1836" y="270"/>
                    <a:pt x="1858" y="271"/>
                    <a:pt x="1860" y="276"/>
                  </a:cubicBezTo>
                  <a:cubicBezTo>
                    <a:pt x="1860" y="276"/>
                    <a:pt x="1860" y="276"/>
                    <a:pt x="1860" y="276"/>
                  </a:cubicBezTo>
                  <a:cubicBezTo>
                    <a:pt x="1860" y="277"/>
                    <a:pt x="1860" y="277"/>
                    <a:pt x="1860" y="277"/>
                  </a:cubicBezTo>
                  <a:cubicBezTo>
                    <a:pt x="1860" y="277"/>
                    <a:pt x="1860" y="277"/>
                    <a:pt x="1860" y="278"/>
                  </a:cubicBezTo>
                  <a:cubicBezTo>
                    <a:pt x="1862" y="277"/>
                    <a:pt x="1863" y="277"/>
                    <a:pt x="1865" y="277"/>
                  </a:cubicBezTo>
                  <a:cubicBezTo>
                    <a:pt x="1865" y="276"/>
                    <a:pt x="1865" y="276"/>
                    <a:pt x="1865" y="276"/>
                  </a:cubicBezTo>
                  <a:cubicBezTo>
                    <a:pt x="1857" y="274"/>
                    <a:pt x="1856" y="271"/>
                    <a:pt x="1857" y="264"/>
                  </a:cubicBezTo>
                  <a:cubicBezTo>
                    <a:pt x="1857" y="263"/>
                    <a:pt x="1857" y="263"/>
                    <a:pt x="1857" y="263"/>
                  </a:cubicBezTo>
                  <a:cubicBezTo>
                    <a:pt x="1857" y="263"/>
                    <a:pt x="1857" y="263"/>
                    <a:pt x="1857" y="263"/>
                  </a:cubicBezTo>
                  <a:cubicBezTo>
                    <a:pt x="1858" y="261"/>
                    <a:pt x="1862" y="260"/>
                    <a:pt x="1865" y="260"/>
                  </a:cubicBezTo>
                  <a:cubicBezTo>
                    <a:pt x="1865" y="258"/>
                    <a:pt x="1865" y="255"/>
                    <a:pt x="1865" y="253"/>
                  </a:cubicBezTo>
                  <a:cubicBezTo>
                    <a:pt x="1865" y="252"/>
                    <a:pt x="1865" y="252"/>
                    <a:pt x="1865" y="252"/>
                  </a:cubicBezTo>
                  <a:cubicBezTo>
                    <a:pt x="1865" y="252"/>
                    <a:pt x="1865" y="252"/>
                    <a:pt x="1865" y="252"/>
                  </a:cubicBezTo>
                  <a:cubicBezTo>
                    <a:pt x="1867" y="246"/>
                    <a:pt x="1892" y="247"/>
                    <a:pt x="1897" y="247"/>
                  </a:cubicBezTo>
                  <a:cubicBezTo>
                    <a:pt x="1903" y="248"/>
                    <a:pt x="1927" y="249"/>
                    <a:pt x="1929" y="255"/>
                  </a:cubicBezTo>
                  <a:cubicBezTo>
                    <a:pt x="1929" y="255"/>
                    <a:pt x="1929" y="255"/>
                    <a:pt x="1929" y="255"/>
                  </a:cubicBezTo>
                  <a:cubicBezTo>
                    <a:pt x="1929" y="255"/>
                    <a:pt x="1929" y="255"/>
                    <a:pt x="1929" y="255"/>
                  </a:cubicBezTo>
                  <a:cubicBezTo>
                    <a:pt x="1929" y="257"/>
                    <a:pt x="1929" y="259"/>
                    <a:pt x="1929" y="261"/>
                  </a:cubicBezTo>
                  <a:cubicBezTo>
                    <a:pt x="1931" y="259"/>
                    <a:pt x="1934" y="258"/>
                    <a:pt x="1937" y="258"/>
                  </a:cubicBezTo>
                  <a:cubicBezTo>
                    <a:pt x="1937" y="257"/>
                    <a:pt x="1937" y="257"/>
                    <a:pt x="1937" y="257"/>
                  </a:cubicBezTo>
                  <a:cubicBezTo>
                    <a:pt x="1928" y="254"/>
                    <a:pt x="1927" y="251"/>
                    <a:pt x="1929" y="242"/>
                  </a:cubicBezTo>
                  <a:cubicBezTo>
                    <a:pt x="1929" y="242"/>
                    <a:pt x="1929" y="242"/>
                    <a:pt x="1929" y="242"/>
                  </a:cubicBezTo>
                  <a:cubicBezTo>
                    <a:pt x="1929" y="242"/>
                    <a:pt x="1929" y="242"/>
                    <a:pt x="1929" y="242"/>
                  </a:cubicBezTo>
                  <a:cubicBezTo>
                    <a:pt x="1930" y="240"/>
                    <a:pt x="1935" y="239"/>
                    <a:pt x="1937" y="238"/>
                  </a:cubicBezTo>
                  <a:cubicBezTo>
                    <a:pt x="1937" y="235"/>
                    <a:pt x="1938" y="232"/>
                    <a:pt x="1938" y="229"/>
                  </a:cubicBezTo>
                  <a:cubicBezTo>
                    <a:pt x="1938" y="228"/>
                    <a:pt x="1938" y="228"/>
                    <a:pt x="1938" y="228"/>
                  </a:cubicBezTo>
                  <a:cubicBezTo>
                    <a:pt x="1938" y="228"/>
                    <a:pt x="1938" y="228"/>
                    <a:pt x="1938" y="228"/>
                  </a:cubicBezTo>
                  <a:cubicBezTo>
                    <a:pt x="1943" y="222"/>
                    <a:pt x="1970" y="223"/>
                    <a:pt x="1976" y="223"/>
                  </a:cubicBezTo>
                  <a:cubicBezTo>
                    <a:pt x="1982" y="223"/>
                    <a:pt x="2011" y="225"/>
                    <a:pt x="2013" y="232"/>
                  </a:cubicBezTo>
                  <a:cubicBezTo>
                    <a:pt x="2014" y="233"/>
                    <a:pt x="2014" y="233"/>
                    <a:pt x="2014" y="233"/>
                  </a:cubicBezTo>
                  <a:cubicBezTo>
                    <a:pt x="2014" y="233"/>
                    <a:pt x="2014" y="233"/>
                    <a:pt x="2014" y="233"/>
                  </a:cubicBezTo>
                  <a:cubicBezTo>
                    <a:pt x="2013" y="236"/>
                    <a:pt x="2013" y="239"/>
                    <a:pt x="2013" y="242"/>
                  </a:cubicBezTo>
                  <a:cubicBezTo>
                    <a:pt x="2021" y="244"/>
                    <a:pt x="2020" y="247"/>
                    <a:pt x="2020" y="255"/>
                  </a:cubicBezTo>
                  <a:cubicBezTo>
                    <a:pt x="2020" y="256"/>
                    <a:pt x="2019" y="257"/>
                    <a:pt x="2019" y="257"/>
                  </a:cubicBezTo>
                  <a:cubicBezTo>
                    <a:pt x="2061" y="245"/>
                    <a:pt x="2102" y="228"/>
                    <a:pt x="2145" y="215"/>
                  </a:cubicBezTo>
                  <a:cubicBezTo>
                    <a:pt x="2146" y="181"/>
                    <a:pt x="2148" y="146"/>
                    <a:pt x="2150" y="111"/>
                  </a:cubicBezTo>
                  <a:cubicBezTo>
                    <a:pt x="2144" y="107"/>
                    <a:pt x="2145" y="101"/>
                    <a:pt x="2146" y="95"/>
                  </a:cubicBezTo>
                  <a:cubicBezTo>
                    <a:pt x="2147" y="84"/>
                    <a:pt x="2190" y="87"/>
                    <a:pt x="2190" y="99"/>
                  </a:cubicBezTo>
                  <a:cubicBezTo>
                    <a:pt x="2190" y="103"/>
                    <a:pt x="2191" y="110"/>
                    <a:pt x="2187" y="113"/>
                  </a:cubicBezTo>
                  <a:cubicBezTo>
                    <a:pt x="2187" y="122"/>
                    <a:pt x="2187" y="132"/>
                    <a:pt x="2187" y="141"/>
                  </a:cubicBezTo>
                  <a:cubicBezTo>
                    <a:pt x="2209" y="153"/>
                    <a:pt x="2231" y="165"/>
                    <a:pt x="2253" y="176"/>
                  </a:cubicBezTo>
                  <a:cubicBezTo>
                    <a:pt x="2254" y="138"/>
                    <a:pt x="2256" y="99"/>
                    <a:pt x="2258" y="60"/>
                  </a:cubicBezTo>
                  <a:cubicBezTo>
                    <a:pt x="2252" y="56"/>
                    <a:pt x="2254" y="48"/>
                    <a:pt x="2254" y="42"/>
                  </a:cubicBezTo>
                  <a:cubicBezTo>
                    <a:pt x="2255" y="29"/>
                    <a:pt x="2299" y="33"/>
                    <a:pt x="2299" y="47"/>
                  </a:cubicBezTo>
                  <a:cubicBezTo>
                    <a:pt x="2299" y="52"/>
                    <a:pt x="2301" y="59"/>
                    <a:pt x="2296" y="63"/>
                  </a:cubicBezTo>
                  <a:cubicBezTo>
                    <a:pt x="2298" y="201"/>
                    <a:pt x="2298" y="201"/>
                    <a:pt x="2298" y="201"/>
                  </a:cubicBezTo>
                  <a:cubicBezTo>
                    <a:pt x="2311" y="208"/>
                    <a:pt x="2324" y="215"/>
                    <a:pt x="2337" y="221"/>
                  </a:cubicBezTo>
                  <a:cubicBezTo>
                    <a:pt x="2337" y="215"/>
                    <a:pt x="2337" y="209"/>
                    <a:pt x="2337" y="202"/>
                  </a:cubicBezTo>
                  <a:cubicBezTo>
                    <a:pt x="2337" y="202"/>
                    <a:pt x="2337" y="202"/>
                    <a:pt x="2337" y="202"/>
                  </a:cubicBezTo>
                  <a:cubicBezTo>
                    <a:pt x="2338" y="201"/>
                    <a:pt x="2338" y="201"/>
                    <a:pt x="2338" y="201"/>
                  </a:cubicBezTo>
                  <a:cubicBezTo>
                    <a:pt x="2339" y="201"/>
                    <a:pt x="2341" y="201"/>
                    <a:pt x="2343" y="200"/>
                  </a:cubicBezTo>
                  <a:cubicBezTo>
                    <a:pt x="2343" y="192"/>
                    <a:pt x="2344" y="183"/>
                    <a:pt x="2344" y="175"/>
                  </a:cubicBezTo>
                  <a:cubicBezTo>
                    <a:pt x="2344" y="174"/>
                    <a:pt x="2344" y="174"/>
                    <a:pt x="2344" y="174"/>
                  </a:cubicBezTo>
                  <a:cubicBezTo>
                    <a:pt x="2351" y="172"/>
                    <a:pt x="2351" y="172"/>
                    <a:pt x="2351" y="172"/>
                  </a:cubicBezTo>
                  <a:cubicBezTo>
                    <a:pt x="2366" y="154"/>
                    <a:pt x="2366" y="154"/>
                    <a:pt x="2366" y="154"/>
                  </a:cubicBezTo>
                  <a:cubicBezTo>
                    <a:pt x="2390" y="158"/>
                    <a:pt x="2390" y="158"/>
                    <a:pt x="2390" y="158"/>
                  </a:cubicBezTo>
                  <a:cubicBezTo>
                    <a:pt x="2404" y="18"/>
                    <a:pt x="2404" y="18"/>
                    <a:pt x="2404" y="18"/>
                  </a:cubicBezTo>
                  <a:cubicBezTo>
                    <a:pt x="2404" y="0"/>
                    <a:pt x="2456" y="2"/>
                    <a:pt x="2455" y="18"/>
                  </a:cubicBezTo>
                  <a:cubicBezTo>
                    <a:pt x="2461" y="173"/>
                    <a:pt x="2461" y="173"/>
                    <a:pt x="2461" y="173"/>
                  </a:cubicBezTo>
                  <a:cubicBezTo>
                    <a:pt x="2471" y="170"/>
                    <a:pt x="2480" y="168"/>
                    <a:pt x="2490" y="166"/>
                  </a:cubicBezTo>
                  <a:cubicBezTo>
                    <a:pt x="2491" y="166"/>
                    <a:pt x="2491" y="166"/>
                    <a:pt x="2491" y="166"/>
                  </a:cubicBezTo>
                  <a:cubicBezTo>
                    <a:pt x="2491" y="166"/>
                    <a:pt x="2491" y="166"/>
                    <a:pt x="2491" y="166"/>
                  </a:cubicBezTo>
                  <a:cubicBezTo>
                    <a:pt x="2520" y="199"/>
                    <a:pt x="2549" y="232"/>
                    <a:pt x="2577" y="265"/>
                  </a:cubicBezTo>
                  <a:cubicBezTo>
                    <a:pt x="2578" y="265"/>
                    <a:pt x="2578" y="265"/>
                    <a:pt x="2578" y="265"/>
                  </a:cubicBezTo>
                  <a:cubicBezTo>
                    <a:pt x="2578" y="266"/>
                    <a:pt x="2578" y="266"/>
                    <a:pt x="2578" y="266"/>
                  </a:cubicBezTo>
                  <a:cubicBezTo>
                    <a:pt x="2578" y="271"/>
                    <a:pt x="2577" y="277"/>
                    <a:pt x="2577" y="282"/>
                  </a:cubicBezTo>
                  <a:close/>
                  <a:moveTo>
                    <a:pt x="1668" y="360"/>
                  </a:moveTo>
                  <a:cubicBezTo>
                    <a:pt x="1683" y="360"/>
                    <a:pt x="1683" y="360"/>
                    <a:pt x="1683" y="360"/>
                  </a:cubicBezTo>
                  <a:cubicBezTo>
                    <a:pt x="1683" y="330"/>
                    <a:pt x="1683" y="330"/>
                    <a:pt x="1683" y="330"/>
                  </a:cubicBezTo>
                  <a:cubicBezTo>
                    <a:pt x="1682" y="330"/>
                    <a:pt x="1682" y="330"/>
                    <a:pt x="1682" y="330"/>
                  </a:cubicBezTo>
                  <a:cubicBezTo>
                    <a:pt x="1674" y="330"/>
                    <a:pt x="1668" y="336"/>
                    <a:pt x="1668" y="344"/>
                  </a:cubicBezTo>
                  <a:cubicBezTo>
                    <a:pt x="1668" y="360"/>
                    <a:pt x="1668" y="360"/>
                    <a:pt x="1668" y="360"/>
                  </a:cubicBezTo>
                  <a:close/>
                  <a:moveTo>
                    <a:pt x="1698" y="360"/>
                  </a:moveTo>
                  <a:cubicBezTo>
                    <a:pt x="1715" y="360"/>
                    <a:pt x="1715" y="360"/>
                    <a:pt x="1715" y="360"/>
                  </a:cubicBezTo>
                  <a:cubicBezTo>
                    <a:pt x="1715" y="344"/>
                    <a:pt x="1715" y="344"/>
                    <a:pt x="1715" y="344"/>
                  </a:cubicBezTo>
                  <a:cubicBezTo>
                    <a:pt x="1715" y="336"/>
                    <a:pt x="1709" y="330"/>
                    <a:pt x="1701" y="330"/>
                  </a:cubicBezTo>
                  <a:cubicBezTo>
                    <a:pt x="1698" y="330"/>
                    <a:pt x="1698" y="330"/>
                    <a:pt x="1698" y="330"/>
                  </a:cubicBezTo>
                  <a:cubicBezTo>
                    <a:pt x="1698" y="360"/>
                    <a:pt x="1698" y="360"/>
                    <a:pt x="1698" y="360"/>
                  </a:cubicBezTo>
                  <a:close/>
                  <a:moveTo>
                    <a:pt x="1653" y="360"/>
                  </a:moveTo>
                  <a:cubicBezTo>
                    <a:pt x="1653" y="344"/>
                    <a:pt x="1653" y="344"/>
                    <a:pt x="1653" y="344"/>
                  </a:cubicBezTo>
                  <a:cubicBezTo>
                    <a:pt x="1653" y="328"/>
                    <a:pt x="1666" y="315"/>
                    <a:pt x="1682" y="315"/>
                  </a:cubicBezTo>
                  <a:cubicBezTo>
                    <a:pt x="1682" y="315"/>
                    <a:pt x="1682" y="315"/>
                    <a:pt x="1682" y="315"/>
                  </a:cubicBezTo>
                  <a:cubicBezTo>
                    <a:pt x="1682" y="308"/>
                    <a:pt x="1676" y="303"/>
                    <a:pt x="1669" y="303"/>
                  </a:cubicBezTo>
                  <a:cubicBezTo>
                    <a:pt x="1640" y="303"/>
                    <a:pt x="1640" y="303"/>
                    <a:pt x="1640" y="303"/>
                  </a:cubicBezTo>
                  <a:cubicBezTo>
                    <a:pt x="1640" y="360"/>
                    <a:pt x="1640" y="360"/>
                    <a:pt x="1640" y="360"/>
                  </a:cubicBezTo>
                  <a:cubicBezTo>
                    <a:pt x="1653" y="360"/>
                    <a:pt x="1653" y="360"/>
                    <a:pt x="1653" y="360"/>
                  </a:cubicBezTo>
                  <a:close/>
                  <a:moveTo>
                    <a:pt x="1335" y="345"/>
                  </a:moveTo>
                  <a:cubicBezTo>
                    <a:pt x="1346" y="345"/>
                    <a:pt x="1346" y="345"/>
                    <a:pt x="1346" y="345"/>
                  </a:cubicBezTo>
                  <a:cubicBezTo>
                    <a:pt x="1346" y="332"/>
                    <a:pt x="1346" y="332"/>
                    <a:pt x="1346" y="332"/>
                  </a:cubicBezTo>
                  <a:cubicBezTo>
                    <a:pt x="1340" y="332"/>
                    <a:pt x="1340" y="332"/>
                    <a:pt x="1340" y="332"/>
                  </a:cubicBezTo>
                  <a:cubicBezTo>
                    <a:pt x="1337" y="332"/>
                    <a:pt x="1335" y="334"/>
                    <a:pt x="1335" y="337"/>
                  </a:cubicBezTo>
                  <a:cubicBezTo>
                    <a:pt x="1335" y="345"/>
                    <a:pt x="1335" y="345"/>
                    <a:pt x="1335" y="345"/>
                  </a:cubicBezTo>
                  <a:close/>
                  <a:moveTo>
                    <a:pt x="1346" y="317"/>
                  </a:moveTo>
                  <a:cubicBezTo>
                    <a:pt x="1346" y="254"/>
                    <a:pt x="1346" y="254"/>
                    <a:pt x="1346" y="254"/>
                  </a:cubicBezTo>
                  <a:cubicBezTo>
                    <a:pt x="1319" y="254"/>
                    <a:pt x="1319" y="254"/>
                    <a:pt x="1319" y="254"/>
                  </a:cubicBezTo>
                  <a:cubicBezTo>
                    <a:pt x="1311" y="254"/>
                    <a:pt x="1305" y="260"/>
                    <a:pt x="1305" y="267"/>
                  </a:cubicBezTo>
                  <a:cubicBezTo>
                    <a:pt x="1305" y="285"/>
                    <a:pt x="1305" y="285"/>
                    <a:pt x="1305" y="285"/>
                  </a:cubicBezTo>
                  <a:cubicBezTo>
                    <a:pt x="1312" y="285"/>
                    <a:pt x="1312" y="285"/>
                    <a:pt x="1312" y="285"/>
                  </a:cubicBezTo>
                  <a:cubicBezTo>
                    <a:pt x="1312" y="345"/>
                    <a:pt x="1312" y="345"/>
                    <a:pt x="1312" y="345"/>
                  </a:cubicBezTo>
                  <a:cubicBezTo>
                    <a:pt x="1320" y="345"/>
                    <a:pt x="1320" y="345"/>
                    <a:pt x="1320" y="345"/>
                  </a:cubicBezTo>
                  <a:cubicBezTo>
                    <a:pt x="1320" y="337"/>
                    <a:pt x="1320" y="337"/>
                    <a:pt x="1320" y="337"/>
                  </a:cubicBezTo>
                  <a:cubicBezTo>
                    <a:pt x="1320" y="326"/>
                    <a:pt x="1329" y="317"/>
                    <a:pt x="1340" y="317"/>
                  </a:cubicBezTo>
                  <a:cubicBezTo>
                    <a:pt x="1346" y="317"/>
                    <a:pt x="1346" y="317"/>
                    <a:pt x="1346" y="317"/>
                  </a:cubicBezTo>
                  <a:close/>
                  <a:moveTo>
                    <a:pt x="1290" y="285"/>
                  </a:moveTo>
                  <a:cubicBezTo>
                    <a:pt x="1290" y="275"/>
                    <a:pt x="1290" y="275"/>
                    <a:pt x="1290" y="275"/>
                  </a:cubicBezTo>
                  <a:cubicBezTo>
                    <a:pt x="1283" y="275"/>
                    <a:pt x="1283" y="275"/>
                    <a:pt x="1283" y="275"/>
                  </a:cubicBezTo>
                  <a:cubicBezTo>
                    <a:pt x="1280" y="275"/>
                    <a:pt x="1278" y="277"/>
                    <a:pt x="1278" y="279"/>
                  </a:cubicBezTo>
                  <a:cubicBezTo>
                    <a:pt x="1278" y="285"/>
                    <a:pt x="1278" y="285"/>
                    <a:pt x="1278" y="285"/>
                  </a:cubicBezTo>
                  <a:cubicBezTo>
                    <a:pt x="1290" y="285"/>
                    <a:pt x="1290" y="285"/>
                    <a:pt x="1290" y="285"/>
                  </a:cubicBezTo>
                  <a:close/>
                  <a:moveTo>
                    <a:pt x="2790" y="316"/>
                  </a:moveTo>
                  <a:cubicBezTo>
                    <a:pt x="2790" y="307"/>
                    <a:pt x="2790" y="307"/>
                    <a:pt x="2790" y="307"/>
                  </a:cubicBezTo>
                  <a:cubicBezTo>
                    <a:pt x="2780" y="312"/>
                    <a:pt x="2780" y="312"/>
                    <a:pt x="2780" y="312"/>
                  </a:cubicBezTo>
                  <a:cubicBezTo>
                    <a:pt x="2783" y="313"/>
                    <a:pt x="2787" y="315"/>
                    <a:pt x="2790" y="316"/>
                  </a:cubicBezTo>
                  <a:close/>
                  <a:moveTo>
                    <a:pt x="2790" y="298"/>
                  </a:moveTo>
                  <a:cubicBezTo>
                    <a:pt x="2790" y="296"/>
                    <a:pt x="2790" y="296"/>
                    <a:pt x="2790" y="296"/>
                  </a:cubicBezTo>
                  <a:cubicBezTo>
                    <a:pt x="2763" y="308"/>
                    <a:pt x="2763" y="308"/>
                    <a:pt x="2763" y="308"/>
                  </a:cubicBezTo>
                  <a:cubicBezTo>
                    <a:pt x="2763" y="309"/>
                    <a:pt x="2763" y="309"/>
                    <a:pt x="2763" y="309"/>
                  </a:cubicBezTo>
                  <a:cubicBezTo>
                    <a:pt x="2790" y="298"/>
                    <a:pt x="2790" y="298"/>
                    <a:pt x="2790" y="298"/>
                  </a:cubicBezTo>
                  <a:close/>
                  <a:moveTo>
                    <a:pt x="1221" y="419"/>
                  </a:moveTo>
                  <a:cubicBezTo>
                    <a:pt x="1221" y="395"/>
                    <a:pt x="1221" y="395"/>
                    <a:pt x="1221" y="395"/>
                  </a:cubicBezTo>
                  <a:cubicBezTo>
                    <a:pt x="1212" y="395"/>
                    <a:pt x="1212" y="395"/>
                    <a:pt x="1212" y="395"/>
                  </a:cubicBezTo>
                  <a:cubicBezTo>
                    <a:pt x="1212" y="419"/>
                    <a:pt x="1212" y="419"/>
                    <a:pt x="1212" y="419"/>
                  </a:cubicBezTo>
                  <a:cubicBezTo>
                    <a:pt x="1221" y="419"/>
                    <a:pt x="1221" y="419"/>
                    <a:pt x="1221" y="419"/>
                  </a:cubicBezTo>
                  <a:close/>
                  <a:moveTo>
                    <a:pt x="688" y="309"/>
                  </a:moveTo>
                  <a:cubicBezTo>
                    <a:pt x="689" y="339"/>
                    <a:pt x="689" y="339"/>
                    <a:pt x="689" y="339"/>
                  </a:cubicBezTo>
                  <a:cubicBezTo>
                    <a:pt x="739" y="355"/>
                    <a:pt x="739" y="355"/>
                    <a:pt x="739" y="355"/>
                  </a:cubicBezTo>
                  <a:cubicBezTo>
                    <a:pt x="739" y="357"/>
                    <a:pt x="739" y="357"/>
                    <a:pt x="739" y="357"/>
                  </a:cubicBezTo>
                  <a:cubicBezTo>
                    <a:pt x="751" y="361"/>
                    <a:pt x="751" y="361"/>
                    <a:pt x="751" y="361"/>
                  </a:cubicBezTo>
                  <a:cubicBezTo>
                    <a:pt x="751" y="360"/>
                    <a:pt x="751" y="358"/>
                    <a:pt x="751" y="357"/>
                  </a:cubicBezTo>
                  <a:cubicBezTo>
                    <a:pt x="751" y="357"/>
                    <a:pt x="751" y="357"/>
                    <a:pt x="751" y="357"/>
                  </a:cubicBezTo>
                  <a:cubicBezTo>
                    <a:pt x="751" y="357"/>
                    <a:pt x="751" y="357"/>
                    <a:pt x="751" y="357"/>
                  </a:cubicBezTo>
                  <a:cubicBezTo>
                    <a:pt x="751" y="355"/>
                    <a:pt x="753" y="355"/>
                    <a:pt x="754" y="354"/>
                  </a:cubicBezTo>
                  <a:cubicBezTo>
                    <a:pt x="754" y="350"/>
                    <a:pt x="754" y="350"/>
                    <a:pt x="754" y="350"/>
                  </a:cubicBezTo>
                  <a:cubicBezTo>
                    <a:pt x="755" y="350"/>
                    <a:pt x="755" y="350"/>
                    <a:pt x="755" y="350"/>
                  </a:cubicBezTo>
                  <a:cubicBezTo>
                    <a:pt x="758" y="347"/>
                    <a:pt x="771" y="347"/>
                    <a:pt x="774" y="347"/>
                  </a:cubicBezTo>
                  <a:cubicBezTo>
                    <a:pt x="777" y="347"/>
                    <a:pt x="789" y="347"/>
                    <a:pt x="792" y="350"/>
                  </a:cubicBezTo>
                  <a:cubicBezTo>
                    <a:pt x="793" y="350"/>
                    <a:pt x="793" y="350"/>
                    <a:pt x="793" y="350"/>
                  </a:cubicBezTo>
                  <a:cubicBezTo>
                    <a:pt x="793" y="354"/>
                    <a:pt x="793" y="354"/>
                    <a:pt x="793" y="354"/>
                  </a:cubicBezTo>
                  <a:cubicBezTo>
                    <a:pt x="794" y="355"/>
                    <a:pt x="796" y="355"/>
                    <a:pt x="797" y="356"/>
                  </a:cubicBezTo>
                  <a:cubicBezTo>
                    <a:pt x="797" y="357"/>
                    <a:pt x="797" y="357"/>
                    <a:pt x="797" y="357"/>
                  </a:cubicBezTo>
                  <a:cubicBezTo>
                    <a:pt x="797" y="357"/>
                    <a:pt x="797" y="357"/>
                    <a:pt x="797" y="357"/>
                  </a:cubicBezTo>
                  <a:cubicBezTo>
                    <a:pt x="797" y="358"/>
                    <a:pt x="797" y="360"/>
                    <a:pt x="797" y="361"/>
                  </a:cubicBezTo>
                  <a:cubicBezTo>
                    <a:pt x="800" y="359"/>
                    <a:pt x="809" y="359"/>
                    <a:pt x="811" y="359"/>
                  </a:cubicBezTo>
                  <a:cubicBezTo>
                    <a:pt x="814" y="359"/>
                    <a:pt x="824" y="359"/>
                    <a:pt x="827" y="362"/>
                  </a:cubicBezTo>
                  <a:cubicBezTo>
                    <a:pt x="827" y="362"/>
                    <a:pt x="827" y="362"/>
                    <a:pt x="827" y="362"/>
                  </a:cubicBezTo>
                  <a:cubicBezTo>
                    <a:pt x="827" y="366"/>
                    <a:pt x="827" y="366"/>
                    <a:pt x="827" y="366"/>
                  </a:cubicBezTo>
                  <a:cubicBezTo>
                    <a:pt x="828" y="366"/>
                    <a:pt x="830" y="366"/>
                    <a:pt x="830" y="367"/>
                  </a:cubicBezTo>
                  <a:cubicBezTo>
                    <a:pt x="831" y="368"/>
                    <a:pt x="831" y="368"/>
                    <a:pt x="831" y="368"/>
                  </a:cubicBezTo>
                  <a:cubicBezTo>
                    <a:pt x="831" y="368"/>
                    <a:pt x="831" y="368"/>
                    <a:pt x="831" y="368"/>
                  </a:cubicBezTo>
                  <a:cubicBezTo>
                    <a:pt x="831" y="369"/>
                    <a:pt x="831" y="370"/>
                    <a:pt x="831" y="371"/>
                  </a:cubicBezTo>
                  <a:cubicBezTo>
                    <a:pt x="831" y="371"/>
                    <a:pt x="831" y="371"/>
                    <a:pt x="831" y="371"/>
                  </a:cubicBezTo>
                  <a:cubicBezTo>
                    <a:pt x="834" y="370"/>
                    <a:pt x="840" y="370"/>
                    <a:pt x="842" y="370"/>
                  </a:cubicBezTo>
                  <a:cubicBezTo>
                    <a:pt x="844" y="370"/>
                    <a:pt x="853" y="370"/>
                    <a:pt x="855" y="372"/>
                  </a:cubicBezTo>
                  <a:cubicBezTo>
                    <a:pt x="856" y="372"/>
                    <a:pt x="856" y="372"/>
                    <a:pt x="856" y="372"/>
                  </a:cubicBezTo>
                  <a:cubicBezTo>
                    <a:pt x="856" y="376"/>
                    <a:pt x="856" y="376"/>
                    <a:pt x="856" y="376"/>
                  </a:cubicBezTo>
                  <a:cubicBezTo>
                    <a:pt x="857" y="376"/>
                    <a:pt x="859" y="377"/>
                    <a:pt x="859" y="377"/>
                  </a:cubicBezTo>
                  <a:cubicBezTo>
                    <a:pt x="859" y="378"/>
                    <a:pt x="859" y="378"/>
                    <a:pt x="859" y="378"/>
                  </a:cubicBezTo>
                  <a:cubicBezTo>
                    <a:pt x="859" y="378"/>
                    <a:pt x="859" y="378"/>
                    <a:pt x="859" y="378"/>
                  </a:cubicBezTo>
                  <a:cubicBezTo>
                    <a:pt x="859" y="379"/>
                    <a:pt x="859" y="380"/>
                    <a:pt x="859" y="381"/>
                  </a:cubicBezTo>
                  <a:cubicBezTo>
                    <a:pt x="859" y="382"/>
                    <a:pt x="858" y="382"/>
                    <a:pt x="857" y="383"/>
                  </a:cubicBezTo>
                  <a:cubicBezTo>
                    <a:pt x="858" y="383"/>
                    <a:pt x="859" y="383"/>
                    <a:pt x="859" y="384"/>
                  </a:cubicBezTo>
                  <a:cubicBezTo>
                    <a:pt x="859" y="384"/>
                    <a:pt x="859" y="384"/>
                    <a:pt x="859" y="384"/>
                  </a:cubicBezTo>
                  <a:cubicBezTo>
                    <a:pt x="859" y="384"/>
                    <a:pt x="859" y="384"/>
                    <a:pt x="859" y="384"/>
                  </a:cubicBezTo>
                  <a:cubicBezTo>
                    <a:pt x="859" y="385"/>
                    <a:pt x="859" y="386"/>
                    <a:pt x="859" y="387"/>
                  </a:cubicBezTo>
                  <a:cubicBezTo>
                    <a:pt x="859" y="388"/>
                    <a:pt x="858" y="389"/>
                    <a:pt x="857" y="389"/>
                  </a:cubicBezTo>
                  <a:cubicBezTo>
                    <a:pt x="858" y="389"/>
                    <a:pt x="859" y="390"/>
                    <a:pt x="859" y="391"/>
                  </a:cubicBezTo>
                  <a:cubicBezTo>
                    <a:pt x="859" y="391"/>
                    <a:pt x="859" y="391"/>
                    <a:pt x="859" y="391"/>
                  </a:cubicBezTo>
                  <a:cubicBezTo>
                    <a:pt x="859" y="391"/>
                    <a:pt x="859" y="391"/>
                    <a:pt x="859" y="391"/>
                  </a:cubicBezTo>
                  <a:cubicBezTo>
                    <a:pt x="859" y="392"/>
                    <a:pt x="859" y="393"/>
                    <a:pt x="859" y="394"/>
                  </a:cubicBezTo>
                  <a:cubicBezTo>
                    <a:pt x="859" y="395"/>
                    <a:pt x="857" y="396"/>
                    <a:pt x="856" y="396"/>
                  </a:cubicBezTo>
                  <a:cubicBezTo>
                    <a:pt x="856" y="406"/>
                    <a:pt x="856" y="406"/>
                    <a:pt x="856" y="406"/>
                  </a:cubicBezTo>
                  <a:cubicBezTo>
                    <a:pt x="876" y="405"/>
                    <a:pt x="876" y="405"/>
                    <a:pt x="876" y="405"/>
                  </a:cubicBezTo>
                  <a:cubicBezTo>
                    <a:pt x="876" y="372"/>
                    <a:pt x="876" y="372"/>
                    <a:pt x="876" y="372"/>
                  </a:cubicBezTo>
                  <a:cubicBezTo>
                    <a:pt x="880" y="369"/>
                    <a:pt x="880" y="369"/>
                    <a:pt x="880" y="369"/>
                  </a:cubicBezTo>
                  <a:cubicBezTo>
                    <a:pt x="688" y="309"/>
                    <a:pt x="688" y="309"/>
                    <a:pt x="688" y="309"/>
                  </a:cubicBezTo>
                  <a:close/>
                  <a:moveTo>
                    <a:pt x="795" y="363"/>
                  </a:moveTo>
                  <a:cubicBezTo>
                    <a:pt x="795" y="363"/>
                    <a:pt x="794" y="363"/>
                    <a:pt x="794" y="363"/>
                  </a:cubicBezTo>
                  <a:cubicBezTo>
                    <a:pt x="794" y="364"/>
                    <a:pt x="795" y="364"/>
                    <a:pt x="795" y="364"/>
                  </a:cubicBezTo>
                  <a:cubicBezTo>
                    <a:pt x="795" y="363"/>
                    <a:pt x="795" y="363"/>
                    <a:pt x="795" y="363"/>
                  </a:cubicBezTo>
                  <a:close/>
                  <a:moveTo>
                    <a:pt x="1212" y="387"/>
                  </a:moveTo>
                  <a:cubicBezTo>
                    <a:pt x="1212" y="390"/>
                    <a:pt x="1212" y="390"/>
                    <a:pt x="1212" y="390"/>
                  </a:cubicBezTo>
                  <a:cubicBezTo>
                    <a:pt x="1263" y="390"/>
                    <a:pt x="1263" y="390"/>
                    <a:pt x="1263" y="390"/>
                  </a:cubicBezTo>
                  <a:cubicBezTo>
                    <a:pt x="1263" y="387"/>
                    <a:pt x="1263" y="387"/>
                    <a:pt x="1263" y="387"/>
                  </a:cubicBezTo>
                  <a:cubicBezTo>
                    <a:pt x="1212" y="387"/>
                    <a:pt x="1212" y="387"/>
                    <a:pt x="1212" y="387"/>
                  </a:cubicBezTo>
                  <a:close/>
                  <a:moveTo>
                    <a:pt x="752" y="381"/>
                  </a:moveTo>
                  <a:cubicBezTo>
                    <a:pt x="739" y="383"/>
                    <a:pt x="739" y="383"/>
                    <a:pt x="739" y="383"/>
                  </a:cubicBezTo>
                  <a:cubicBezTo>
                    <a:pt x="739" y="394"/>
                    <a:pt x="739" y="394"/>
                    <a:pt x="739" y="394"/>
                  </a:cubicBezTo>
                  <a:cubicBezTo>
                    <a:pt x="754" y="392"/>
                    <a:pt x="754" y="392"/>
                    <a:pt x="754" y="392"/>
                  </a:cubicBezTo>
                  <a:cubicBezTo>
                    <a:pt x="754" y="382"/>
                    <a:pt x="754" y="382"/>
                    <a:pt x="754" y="382"/>
                  </a:cubicBezTo>
                  <a:cubicBezTo>
                    <a:pt x="754" y="381"/>
                    <a:pt x="753" y="381"/>
                    <a:pt x="752" y="381"/>
                  </a:cubicBezTo>
                  <a:close/>
                  <a:moveTo>
                    <a:pt x="828" y="406"/>
                  </a:moveTo>
                  <a:cubicBezTo>
                    <a:pt x="828" y="396"/>
                    <a:pt x="828" y="396"/>
                    <a:pt x="828" y="396"/>
                  </a:cubicBezTo>
                  <a:cubicBezTo>
                    <a:pt x="828" y="396"/>
                    <a:pt x="827" y="396"/>
                    <a:pt x="827" y="396"/>
                  </a:cubicBezTo>
                  <a:cubicBezTo>
                    <a:pt x="827" y="406"/>
                    <a:pt x="827" y="406"/>
                    <a:pt x="827" y="406"/>
                  </a:cubicBezTo>
                  <a:cubicBezTo>
                    <a:pt x="828" y="406"/>
                    <a:pt x="828" y="406"/>
                    <a:pt x="828" y="406"/>
                  </a:cubicBezTo>
                  <a:close/>
                  <a:moveTo>
                    <a:pt x="827" y="389"/>
                  </a:moveTo>
                  <a:cubicBezTo>
                    <a:pt x="827" y="389"/>
                    <a:pt x="827" y="389"/>
                    <a:pt x="827" y="389"/>
                  </a:cubicBezTo>
                  <a:cubicBezTo>
                    <a:pt x="827" y="389"/>
                    <a:pt x="827" y="389"/>
                    <a:pt x="827" y="389"/>
                  </a:cubicBezTo>
                  <a:cubicBezTo>
                    <a:pt x="827" y="389"/>
                    <a:pt x="827" y="389"/>
                    <a:pt x="827" y="389"/>
                  </a:cubicBezTo>
                  <a:close/>
                  <a:moveTo>
                    <a:pt x="793" y="388"/>
                  </a:moveTo>
                  <a:cubicBezTo>
                    <a:pt x="793" y="387"/>
                    <a:pt x="793" y="387"/>
                    <a:pt x="793" y="387"/>
                  </a:cubicBezTo>
                  <a:cubicBezTo>
                    <a:pt x="793" y="388"/>
                    <a:pt x="793" y="388"/>
                    <a:pt x="793" y="388"/>
                  </a:cubicBezTo>
                  <a:cubicBezTo>
                    <a:pt x="793" y="388"/>
                    <a:pt x="793" y="388"/>
                    <a:pt x="793" y="388"/>
                  </a:cubicBezTo>
                  <a:close/>
                  <a:moveTo>
                    <a:pt x="793" y="382"/>
                  </a:moveTo>
                  <a:cubicBezTo>
                    <a:pt x="793" y="382"/>
                    <a:pt x="793" y="382"/>
                    <a:pt x="793" y="382"/>
                  </a:cubicBezTo>
                  <a:cubicBezTo>
                    <a:pt x="793" y="382"/>
                    <a:pt x="793" y="382"/>
                    <a:pt x="793" y="382"/>
                  </a:cubicBezTo>
                  <a:cubicBezTo>
                    <a:pt x="793" y="382"/>
                    <a:pt x="793" y="382"/>
                    <a:pt x="793" y="382"/>
                  </a:cubicBezTo>
                  <a:close/>
                  <a:moveTo>
                    <a:pt x="650" y="327"/>
                  </a:moveTo>
                  <a:cubicBezTo>
                    <a:pt x="665" y="332"/>
                    <a:pt x="665" y="332"/>
                    <a:pt x="665" y="332"/>
                  </a:cubicBezTo>
                  <a:cubicBezTo>
                    <a:pt x="665" y="322"/>
                    <a:pt x="665" y="322"/>
                    <a:pt x="665" y="322"/>
                  </a:cubicBezTo>
                  <a:cubicBezTo>
                    <a:pt x="650" y="327"/>
                    <a:pt x="650" y="327"/>
                    <a:pt x="650" y="327"/>
                  </a:cubicBezTo>
                  <a:close/>
                  <a:moveTo>
                    <a:pt x="665" y="313"/>
                  </a:moveTo>
                  <a:cubicBezTo>
                    <a:pt x="665" y="312"/>
                    <a:pt x="665" y="312"/>
                    <a:pt x="665" y="312"/>
                  </a:cubicBezTo>
                  <a:cubicBezTo>
                    <a:pt x="631" y="325"/>
                    <a:pt x="631" y="325"/>
                    <a:pt x="631" y="325"/>
                  </a:cubicBezTo>
                  <a:cubicBezTo>
                    <a:pt x="631" y="326"/>
                    <a:pt x="631" y="326"/>
                    <a:pt x="631" y="326"/>
                  </a:cubicBezTo>
                  <a:cubicBezTo>
                    <a:pt x="642" y="322"/>
                    <a:pt x="654" y="318"/>
                    <a:pt x="665" y="313"/>
                  </a:cubicBezTo>
                  <a:close/>
                  <a:moveTo>
                    <a:pt x="793" y="373"/>
                  </a:moveTo>
                  <a:cubicBezTo>
                    <a:pt x="793" y="373"/>
                    <a:pt x="793" y="373"/>
                    <a:pt x="793" y="373"/>
                  </a:cubicBezTo>
                  <a:cubicBezTo>
                    <a:pt x="793" y="373"/>
                    <a:pt x="793" y="373"/>
                    <a:pt x="793" y="373"/>
                  </a:cubicBezTo>
                  <a:cubicBezTo>
                    <a:pt x="793" y="373"/>
                    <a:pt x="793" y="373"/>
                    <a:pt x="793" y="373"/>
                  </a:cubicBezTo>
                  <a:close/>
                  <a:moveTo>
                    <a:pt x="82" y="253"/>
                  </a:moveTo>
                  <a:cubicBezTo>
                    <a:pt x="56" y="245"/>
                    <a:pt x="56" y="245"/>
                    <a:pt x="56" y="245"/>
                  </a:cubicBezTo>
                  <a:cubicBezTo>
                    <a:pt x="56" y="261"/>
                    <a:pt x="56" y="261"/>
                    <a:pt x="56" y="261"/>
                  </a:cubicBezTo>
                  <a:cubicBezTo>
                    <a:pt x="82" y="253"/>
                    <a:pt x="82" y="253"/>
                    <a:pt x="82" y="253"/>
                  </a:cubicBezTo>
                  <a:close/>
                  <a:moveTo>
                    <a:pt x="188" y="290"/>
                  </a:moveTo>
                  <a:cubicBezTo>
                    <a:pt x="188" y="289"/>
                    <a:pt x="188" y="289"/>
                    <a:pt x="188" y="289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88" y="290"/>
                    <a:pt x="188" y="290"/>
                    <a:pt x="188" y="290"/>
                  </a:cubicBezTo>
                  <a:close/>
                  <a:moveTo>
                    <a:pt x="55" y="231"/>
                  </a:moveTo>
                  <a:cubicBezTo>
                    <a:pt x="74" y="238"/>
                    <a:pt x="93" y="245"/>
                    <a:pt x="111" y="252"/>
                  </a:cubicBezTo>
                  <a:cubicBezTo>
                    <a:pt x="111" y="250"/>
                    <a:pt x="111" y="250"/>
                    <a:pt x="111" y="250"/>
                  </a:cubicBezTo>
                  <a:cubicBezTo>
                    <a:pt x="55" y="228"/>
                    <a:pt x="55" y="228"/>
                    <a:pt x="55" y="228"/>
                  </a:cubicBezTo>
                  <a:cubicBezTo>
                    <a:pt x="55" y="231"/>
                    <a:pt x="55" y="231"/>
                    <a:pt x="55" y="231"/>
                  </a:cubicBezTo>
                  <a:close/>
                  <a:moveTo>
                    <a:pt x="153" y="266"/>
                  </a:moveTo>
                  <a:cubicBezTo>
                    <a:pt x="165" y="270"/>
                    <a:pt x="177" y="275"/>
                    <a:pt x="188" y="279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53" y="265"/>
                    <a:pt x="153" y="265"/>
                    <a:pt x="153" y="265"/>
                  </a:cubicBezTo>
                  <a:cubicBezTo>
                    <a:pt x="153" y="266"/>
                    <a:pt x="153" y="266"/>
                    <a:pt x="153" y="266"/>
                  </a:cubicBezTo>
                  <a:close/>
                  <a:moveTo>
                    <a:pt x="2739" y="319"/>
                  </a:moveTo>
                  <a:cubicBezTo>
                    <a:pt x="2739" y="319"/>
                    <a:pt x="2739" y="319"/>
                    <a:pt x="2739" y="319"/>
                  </a:cubicBezTo>
                  <a:cubicBezTo>
                    <a:pt x="2739" y="319"/>
                    <a:pt x="2738" y="320"/>
                    <a:pt x="2738" y="320"/>
                  </a:cubicBezTo>
                  <a:cubicBezTo>
                    <a:pt x="2738" y="320"/>
                    <a:pt x="2739" y="319"/>
                    <a:pt x="2739" y="319"/>
                  </a:cubicBezTo>
                  <a:close/>
                  <a:moveTo>
                    <a:pt x="1859" y="352"/>
                  </a:moveTo>
                  <a:cubicBezTo>
                    <a:pt x="1861" y="351"/>
                    <a:pt x="1862" y="351"/>
                    <a:pt x="1864" y="351"/>
                  </a:cubicBezTo>
                  <a:cubicBezTo>
                    <a:pt x="1864" y="342"/>
                    <a:pt x="1864" y="333"/>
                    <a:pt x="1864" y="324"/>
                  </a:cubicBezTo>
                  <a:cubicBezTo>
                    <a:pt x="1863" y="325"/>
                    <a:pt x="1861" y="326"/>
                    <a:pt x="1860" y="326"/>
                  </a:cubicBezTo>
                  <a:cubicBezTo>
                    <a:pt x="1860" y="335"/>
                    <a:pt x="1859" y="343"/>
                    <a:pt x="1859" y="352"/>
                  </a:cubicBezTo>
                  <a:close/>
                  <a:moveTo>
                    <a:pt x="1864" y="316"/>
                  </a:moveTo>
                  <a:cubicBezTo>
                    <a:pt x="1864" y="314"/>
                    <a:pt x="1864" y="312"/>
                    <a:pt x="1864" y="310"/>
                  </a:cubicBezTo>
                  <a:cubicBezTo>
                    <a:pt x="1864" y="310"/>
                    <a:pt x="1864" y="310"/>
                    <a:pt x="1864" y="310"/>
                  </a:cubicBezTo>
                  <a:cubicBezTo>
                    <a:pt x="1863" y="311"/>
                    <a:pt x="1861" y="311"/>
                    <a:pt x="1860" y="311"/>
                  </a:cubicBezTo>
                  <a:cubicBezTo>
                    <a:pt x="1860" y="312"/>
                    <a:pt x="1860" y="312"/>
                    <a:pt x="1860" y="313"/>
                  </a:cubicBezTo>
                  <a:cubicBezTo>
                    <a:pt x="1862" y="313"/>
                    <a:pt x="1863" y="314"/>
                    <a:pt x="1864" y="316"/>
                  </a:cubicBezTo>
                  <a:close/>
                  <a:moveTo>
                    <a:pt x="1936" y="297"/>
                  </a:moveTo>
                  <a:cubicBezTo>
                    <a:pt x="1934" y="296"/>
                    <a:pt x="1931" y="296"/>
                    <a:pt x="1930" y="294"/>
                  </a:cubicBezTo>
                  <a:cubicBezTo>
                    <a:pt x="1929" y="294"/>
                    <a:pt x="1929" y="295"/>
                    <a:pt x="1929" y="295"/>
                  </a:cubicBezTo>
                  <a:cubicBezTo>
                    <a:pt x="1929" y="295"/>
                    <a:pt x="1929" y="296"/>
                    <a:pt x="1929" y="296"/>
                  </a:cubicBezTo>
                  <a:cubicBezTo>
                    <a:pt x="1936" y="298"/>
                    <a:pt x="1935" y="300"/>
                    <a:pt x="1935" y="308"/>
                  </a:cubicBezTo>
                  <a:cubicBezTo>
                    <a:pt x="1935" y="310"/>
                    <a:pt x="1931" y="311"/>
                    <a:pt x="1928" y="311"/>
                  </a:cubicBezTo>
                  <a:cubicBezTo>
                    <a:pt x="1928" y="312"/>
                    <a:pt x="1928" y="312"/>
                    <a:pt x="1928" y="313"/>
                  </a:cubicBezTo>
                  <a:cubicBezTo>
                    <a:pt x="1932" y="312"/>
                    <a:pt x="1933" y="312"/>
                    <a:pt x="1936" y="312"/>
                  </a:cubicBezTo>
                  <a:cubicBezTo>
                    <a:pt x="1936" y="307"/>
                    <a:pt x="1936" y="302"/>
                    <a:pt x="1936" y="297"/>
                  </a:cubicBezTo>
                  <a:close/>
                  <a:moveTo>
                    <a:pt x="2219" y="194"/>
                  </a:moveTo>
                  <a:cubicBezTo>
                    <a:pt x="2188" y="180"/>
                    <a:pt x="2188" y="180"/>
                    <a:pt x="2188" y="180"/>
                  </a:cubicBezTo>
                  <a:cubicBezTo>
                    <a:pt x="2188" y="188"/>
                    <a:pt x="2188" y="195"/>
                    <a:pt x="2188" y="203"/>
                  </a:cubicBezTo>
                  <a:cubicBezTo>
                    <a:pt x="2198" y="200"/>
                    <a:pt x="2209" y="197"/>
                    <a:pt x="2219" y="194"/>
                  </a:cubicBezTo>
                  <a:close/>
                  <a:moveTo>
                    <a:pt x="2336" y="247"/>
                  </a:moveTo>
                  <a:cubicBezTo>
                    <a:pt x="2336" y="247"/>
                    <a:pt x="2336" y="246"/>
                    <a:pt x="2336" y="246"/>
                  </a:cubicBezTo>
                  <a:cubicBezTo>
                    <a:pt x="2325" y="241"/>
                    <a:pt x="2314" y="236"/>
                    <a:pt x="2303" y="231"/>
                  </a:cubicBezTo>
                  <a:cubicBezTo>
                    <a:pt x="2314" y="237"/>
                    <a:pt x="2325" y="242"/>
                    <a:pt x="2336" y="247"/>
                  </a:cubicBezTo>
                  <a:close/>
                  <a:moveTo>
                    <a:pt x="2252" y="194"/>
                  </a:moveTo>
                  <a:cubicBezTo>
                    <a:pt x="2252" y="193"/>
                    <a:pt x="2252" y="192"/>
                    <a:pt x="2252" y="191"/>
                  </a:cubicBezTo>
                  <a:cubicBezTo>
                    <a:pt x="2230" y="180"/>
                    <a:pt x="2209" y="169"/>
                    <a:pt x="2187" y="159"/>
                  </a:cubicBezTo>
                  <a:cubicBezTo>
                    <a:pt x="2187" y="160"/>
                    <a:pt x="2187" y="162"/>
                    <a:pt x="2187" y="163"/>
                  </a:cubicBezTo>
                  <a:cubicBezTo>
                    <a:pt x="2209" y="174"/>
                    <a:pt x="2230" y="184"/>
                    <a:pt x="2252" y="194"/>
                  </a:cubicBezTo>
                  <a:close/>
                  <a:moveTo>
                    <a:pt x="2297" y="215"/>
                  </a:moveTo>
                  <a:cubicBezTo>
                    <a:pt x="2310" y="222"/>
                    <a:pt x="2323" y="228"/>
                    <a:pt x="2336" y="234"/>
                  </a:cubicBezTo>
                  <a:cubicBezTo>
                    <a:pt x="2336" y="234"/>
                    <a:pt x="2336" y="233"/>
                    <a:pt x="2336" y="233"/>
                  </a:cubicBezTo>
                  <a:cubicBezTo>
                    <a:pt x="2323" y="226"/>
                    <a:pt x="2310" y="220"/>
                    <a:pt x="2297" y="213"/>
                  </a:cubicBezTo>
                  <a:cubicBezTo>
                    <a:pt x="2297" y="214"/>
                    <a:pt x="2297" y="215"/>
                    <a:pt x="2297" y="215"/>
                  </a:cubicBezTo>
                  <a:close/>
                  <a:moveTo>
                    <a:pt x="1937" y="278"/>
                  </a:moveTo>
                  <a:cubicBezTo>
                    <a:pt x="1937" y="278"/>
                    <a:pt x="1937" y="277"/>
                    <a:pt x="1937" y="277"/>
                  </a:cubicBezTo>
                  <a:cubicBezTo>
                    <a:pt x="1936" y="276"/>
                    <a:pt x="1935" y="276"/>
                    <a:pt x="1934" y="276"/>
                  </a:cubicBezTo>
                  <a:cubicBezTo>
                    <a:pt x="1933" y="277"/>
                    <a:pt x="1931" y="278"/>
                    <a:pt x="1929" y="278"/>
                  </a:cubicBezTo>
                  <a:cubicBezTo>
                    <a:pt x="1929" y="278"/>
                    <a:pt x="1929" y="279"/>
                    <a:pt x="1929" y="279"/>
                  </a:cubicBezTo>
                  <a:cubicBezTo>
                    <a:pt x="1930" y="279"/>
                    <a:pt x="1931" y="280"/>
                    <a:pt x="1931" y="280"/>
                  </a:cubicBezTo>
                  <a:cubicBezTo>
                    <a:pt x="1933" y="279"/>
                    <a:pt x="1935" y="279"/>
                    <a:pt x="1937" y="27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1E5CB9D1-66D2-4C99-95A3-95D096515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5" y="4596760"/>
              <a:ext cx="11941883" cy="2120150"/>
            </a:xfrm>
            <a:custGeom>
              <a:avLst/>
              <a:gdLst>
                <a:gd name="T0" fmla="*/ 2590 w 2803"/>
                <a:gd name="T1" fmla="*/ 231 h 496"/>
                <a:gd name="T2" fmla="*/ 2619 w 2803"/>
                <a:gd name="T3" fmla="*/ 247 h 496"/>
                <a:gd name="T4" fmla="*/ 2693 w 2803"/>
                <a:gd name="T5" fmla="*/ 278 h 496"/>
                <a:gd name="T6" fmla="*/ 2754 w 2803"/>
                <a:gd name="T7" fmla="*/ 218 h 496"/>
                <a:gd name="T8" fmla="*/ 1222 w 2803"/>
                <a:gd name="T9" fmla="*/ 496 h 496"/>
                <a:gd name="T10" fmla="*/ 55 w 2803"/>
                <a:gd name="T11" fmla="*/ 186 h 496"/>
                <a:gd name="T12" fmla="*/ 148 w 2803"/>
                <a:gd name="T13" fmla="*/ 144 h 496"/>
                <a:gd name="T14" fmla="*/ 239 w 2803"/>
                <a:gd name="T15" fmla="*/ 214 h 496"/>
                <a:gd name="T16" fmla="*/ 435 w 2803"/>
                <a:gd name="T17" fmla="*/ 290 h 496"/>
                <a:gd name="T18" fmla="*/ 470 w 2803"/>
                <a:gd name="T19" fmla="*/ 242 h 496"/>
                <a:gd name="T20" fmla="*/ 470 w 2803"/>
                <a:gd name="T21" fmla="*/ 292 h 496"/>
                <a:gd name="T22" fmla="*/ 558 w 2803"/>
                <a:gd name="T23" fmla="*/ 296 h 496"/>
                <a:gd name="T24" fmla="*/ 606 w 2803"/>
                <a:gd name="T25" fmla="*/ 255 h 496"/>
                <a:gd name="T26" fmla="*/ 666 w 2803"/>
                <a:gd name="T27" fmla="*/ 279 h 496"/>
                <a:gd name="T28" fmla="*/ 900 w 2803"/>
                <a:gd name="T29" fmla="*/ 349 h 496"/>
                <a:gd name="T30" fmla="*/ 976 w 2803"/>
                <a:gd name="T31" fmla="*/ 323 h 496"/>
                <a:gd name="T32" fmla="*/ 1005 w 2803"/>
                <a:gd name="T33" fmla="*/ 266 h 496"/>
                <a:gd name="T34" fmla="*/ 1029 w 2803"/>
                <a:gd name="T35" fmla="*/ 327 h 496"/>
                <a:gd name="T36" fmla="*/ 1109 w 2803"/>
                <a:gd name="T37" fmla="*/ 357 h 496"/>
                <a:gd name="T38" fmla="*/ 1144 w 2803"/>
                <a:gd name="T39" fmla="*/ 339 h 496"/>
                <a:gd name="T40" fmla="*/ 1292 w 2803"/>
                <a:gd name="T41" fmla="*/ 256 h 496"/>
                <a:gd name="T42" fmla="*/ 1437 w 2803"/>
                <a:gd name="T43" fmla="*/ 356 h 496"/>
                <a:gd name="T44" fmla="*/ 1538 w 2803"/>
                <a:gd name="T45" fmla="*/ 356 h 496"/>
                <a:gd name="T46" fmla="*/ 1639 w 2803"/>
                <a:gd name="T47" fmla="*/ 284 h 496"/>
                <a:gd name="T48" fmla="*/ 1802 w 2803"/>
                <a:gd name="T49" fmla="*/ 307 h 496"/>
                <a:gd name="T50" fmla="*/ 1859 w 2803"/>
                <a:gd name="T51" fmla="*/ 272 h 496"/>
                <a:gd name="T52" fmla="*/ 1928 w 2803"/>
                <a:gd name="T53" fmla="*/ 259 h 496"/>
                <a:gd name="T54" fmla="*/ 2012 w 2803"/>
                <a:gd name="T55" fmla="*/ 238 h 496"/>
                <a:gd name="T56" fmla="*/ 2186 w 2803"/>
                <a:gd name="T57" fmla="*/ 139 h 496"/>
                <a:gd name="T58" fmla="*/ 2345 w 2803"/>
                <a:gd name="T59" fmla="*/ 171 h 496"/>
                <a:gd name="T60" fmla="*/ 1667 w 2803"/>
                <a:gd name="T61" fmla="*/ 339 h 496"/>
                <a:gd name="T62" fmla="*/ 1654 w 2803"/>
                <a:gd name="T63" fmla="*/ 356 h 496"/>
                <a:gd name="T64" fmla="*/ 1334 w 2803"/>
                <a:gd name="T65" fmla="*/ 341 h 496"/>
                <a:gd name="T66" fmla="*/ 1311 w 2803"/>
                <a:gd name="T67" fmla="*/ 341 h 496"/>
                <a:gd name="T68" fmla="*/ 1291 w 2803"/>
                <a:gd name="T69" fmla="*/ 282 h 496"/>
                <a:gd name="T70" fmla="*/ 2792 w 2803"/>
                <a:gd name="T71" fmla="*/ 295 h 496"/>
                <a:gd name="T72" fmla="*/ 756 w 2803"/>
                <a:gd name="T73" fmla="*/ 358 h 496"/>
                <a:gd name="T74" fmla="*/ 796 w 2803"/>
                <a:gd name="T75" fmla="*/ 352 h 496"/>
                <a:gd name="T76" fmla="*/ 826 w 2803"/>
                <a:gd name="T77" fmla="*/ 358 h 496"/>
                <a:gd name="T78" fmla="*/ 855 w 2803"/>
                <a:gd name="T79" fmla="*/ 369 h 496"/>
                <a:gd name="T80" fmla="*/ 858 w 2803"/>
                <a:gd name="T81" fmla="*/ 386 h 496"/>
                <a:gd name="T82" fmla="*/ 1264 w 2803"/>
                <a:gd name="T83" fmla="*/ 386 h 496"/>
                <a:gd name="T84" fmla="*/ 628 w 2803"/>
                <a:gd name="T85" fmla="*/ 257 h 496"/>
                <a:gd name="T86" fmla="*/ 827 w 2803"/>
                <a:gd name="T87" fmla="*/ 389 h 496"/>
                <a:gd name="T88" fmla="*/ 796 w 2803"/>
                <a:gd name="T89" fmla="*/ 376 h 496"/>
                <a:gd name="T90" fmla="*/ 582 w 2803"/>
                <a:gd name="T91" fmla="*/ 346 h 496"/>
                <a:gd name="T92" fmla="*/ 605 w 2803"/>
                <a:gd name="T93" fmla="*/ 331 h 496"/>
                <a:gd name="T94" fmla="*/ 792 w 2803"/>
                <a:gd name="T95" fmla="*/ 368 h 496"/>
                <a:gd name="T96" fmla="*/ 197 w 2803"/>
                <a:gd name="T97" fmla="*/ 224 h 496"/>
                <a:gd name="T98" fmla="*/ 153 w 2803"/>
                <a:gd name="T99" fmla="*/ 273 h 496"/>
                <a:gd name="T100" fmla="*/ 152 w 2803"/>
                <a:gd name="T101" fmla="*/ 259 h 496"/>
                <a:gd name="T102" fmla="*/ 2719 w 2803"/>
                <a:gd name="T103" fmla="*/ 330 h 496"/>
                <a:gd name="T104" fmla="*/ 1865 w 2803"/>
                <a:gd name="T105" fmla="*/ 347 h 496"/>
                <a:gd name="T106" fmla="*/ 1937 w 2803"/>
                <a:gd name="T107" fmla="*/ 292 h 496"/>
                <a:gd name="T108" fmla="*/ 2222 w 2803"/>
                <a:gd name="T109" fmla="*/ 190 h 496"/>
                <a:gd name="T110" fmla="*/ 2253 w 2803"/>
                <a:gd name="T111" fmla="*/ 186 h 496"/>
                <a:gd name="T112" fmla="*/ 1938 w 2803"/>
                <a:gd name="T113" fmla="*/ 275 h 496"/>
                <a:gd name="T114" fmla="*/ 1859 w 2803"/>
                <a:gd name="T115" fmla="*/ 29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03" h="496">
                  <a:moveTo>
                    <a:pt x="2454" y="15"/>
                  </a:moveTo>
                  <a:cubicBezTo>
                    <a:pt x="2460" y="171"/>
                    <a:pt x="2460" y="171"/>
                    <a:pt x="2460" y="171"/>
                  </a:cubicBezTo>
                  <a:cubicBezTo>
                    <a:pt x="2473" y="168"/>
                    <a:pt x="2478" y="166"/>
                    <a:pt x="2490" y="163"/>
                  </a:cubicBezTo>
                  <a:cubicBezTo>
                    <a:pt x="2520" y="197"/>
                    <a:pt x="2548" y="229"/>
                    <a:pt x="2577" y="261"/>
                  </a:cubicBezTo>
                  <a:cubicBezTo>
                    <a:pt x="2576" y="267"/>
                    <a:pt x="2576" y="273"/>
                    <a:pt x="2576" y="279"/>
                  </a:cubicBezTo>
                  <a:cubicBezTo>
                    <a:pt x="2581" y="279"/>
                    <a:pt x="2585" y="278"/>
                    <a:pt x="2589" y="278"/>
                  </a:cubicBezTo>
                  <a:cubicBezTo>
                    <a:pt x="2589" y="273"/>
                    <a:pt x="2589" y="269"/>
                    <a:pt x="2589" y="264"/>
                  </a:cubicBezTo>
                  <a:cubicBezTo>
                    <a:pt x="2582" y="261"/>
                    <a:pt x="2586" y="251"/>
                    <a:pt x="2589" y="249"/>
                  </a:cubicBezTo>
                  <a:cubicBezTo>
                    <a:pt x="2589" y="248"/>
                    <a:pt x="2589" y="247"/>
                    <a:pt x="2589" y="246"/>
                  </a:cubicBezTo>
                  <a:cubicBezTo>
                    <a:pt x="2583" y="242"/>
                    <a:pt x="2586" y="232"/>
                    <a:pt x="2590" y="231"/>
                  </a:cubicBezTo>
                  <a:cubicBezTo>
                    <a:pt x="2590" y="230"/>
                    <a:pt x="2590" y="229"/>
                    <a:pt x="2590" y="228"/>
                  </a:cubicBezTo>
                  <a:cubicBezTo>
                    <a:pt x="2583" y="224"/>
                    <a:pt x="2586" y="214"/>
                    <a:pt x="2590" y="213"/>
                  </a:cubicBezTo>
                  <a:cubicBezTo>
                    <a:pt x="2590" y="210"/>
                    <a:pt x="2590" y="207"/>
                    <a:pt x="2590" y="204"/>
                  </a:cubicBezTo>
                  <a:cubicBezTo>
                    <a:pt x="2590" y="204"/>
                    <a:pt x="2590" y="204"/>
                    <a:pt x="2590" y="204"/>
                  </a:cubicBezTo>
                  <a:cubicBezTo>
                    <a:pt x="2592" y="196"/>
                    <a:pt x="2619" y="198"/>
                    <a:pt x="2620" y="206"/>
                  </a:cubicBezTo>
                  <a:cubicBezTo>
                    <a:pt x="2620" y="206"/>
                    <a:pt x="2620" y="206"/>
                    <a:pt x="2620" y="206"/>
                  </a:cubicBezTo>
                  <a:cubicBezTo>
                    <a:pt x="2620" y="209"/>
                    <a:pt x="2620" y="212"/>
                    <a:pt x="2620" y="215"/>
                  </a:cubicBezTo>
                  <a:cubicBezTo>
                    <a:pt x="2622" y="216"/>
                    <a:pt x="2625" y="226"/>
                    <a:pt x="2619" y="229"/>
                  </a:cubicBezTo>
                  <a:cubicBezTo>
                    <a:pt x="2619" y="230"/>
                    <a:pt x="2619" y="231"/>
                    <a:pt x="2619" y="232"/>
                  </a:cubicBezTo>
                  <a:cubicBezTo>
                    <a:pt x="2621" y="234"/>
                    <a:pt x="2625" y="244"/>
                    <a:pt x="2619" y="247"/>
                  </a:cubicBezTo>
                  <a:cubicBezTo>
                    <a:pt x="2619" y="248"/>
                    <a:pt x="2619" y="250"/>
                    <a:pt x="2619" y="251"/>
                  </a:cubicBezTo>
                  <a:cubicBezTo>
                    <a:pt x="2621" y="252"/>
                    <a:pt x="2624" y="263"/>
                    <a:pt x="2618" y="265"/>
                  </a:cubicBezTo>
                  <a:cubicBezTo>
                    <a:pt x="2618" y="268"/>
                    <a:pt x="2618" y="271"/>
                    <a:pt x="2618" y="274"/>
                  </a:cubicBezTo>
                  <a:cubicBezTo>
                    <a:pt x="2620" y="274"/>
                    <a:pt x="2621" y="274"/>
                    <a:pt x="2623" y="274"/>
                  </a:cubicBezTo>
                  <a:cubicBezTo>
                    <a:pt x="2625" y="277"/>
                    <a:pt x="2627" y="281"/>
                    <a:pt x="2630" y="284"/>
                  </a:cubicBezTo>
                  <a:cubicBezTo>
                    <a:pt x="2632" y="281"/>
                    <a:pt x="2635" y="279"/>
                    <a:pt x="2637" y="276"/>
                  </a:cubicBezTo>
                  <a:cubicBezTo>
                    <a:pt x="2645" y="279"/>
                    <a:pt x="2652" y="281"/>
                    <a:pt x="2659" y="284"/>
                  </a:cubicBezTo>
                  <a:cubicBezTo>
                    <a:pt x="2665" y="151"/>
                    <a:pt x="2665" y="151"/>
                    <a:pt x="2665" y="151"/>
                  </a:cubicBezTo>
                  <a:cubicBezTo>
                    <a:pt x="2666" y="142"/>
                    <a:pt x="2693" y="145"/>
                    <a:pt x="2692" y="153"/>
                  </a:cubicBezTo>
                  <a:cubicBezTo>
                    <a:pt x="2693" y="278"/>
                    <a:pt x="2693" y="278"/>
                    <a:pt x="2693" y="278"/>
                  </a:cubicBezTo>
                  <a:cubicBezTo>
                    <a:pt x="2695" y="277"/>
                    <a:pt x="2697" y="275"/>
                    <a:pt x="2699" y="273"/>
                  </a:cubicBezTo>
                  <a:cubicBezTo>
                    <a:pt x="2710" y="277"/>
                    <a:pt x="2710" y="276"/>
                    <a:pt x="2716" y="286"/>
                  </a:cubicBezTo>
                  <a:cubicBezTo>
                    <a:pt x="2715" y="287"/>
                    <a:pt x="2714" y="288"/>
                    <a:pt x="2713" y="288"/>
                  </a:cubicBezTo>
                  <a:cubicBezTo>
                    <a:pt x="2714" y="289"/>
                    <a:pt x="2716" y="289"/>
                    <a:pt x="2717" y="290"/>
                  </a:cubicBezTo>
                  <a:cubicBezTo>
                    <a:pt x="2717" y="295"/>
                    <a:pt x="2717" y="300"/>
                    <a:pt x="2717" y="304"/>
                  </a:cubicBezTo>
                  <a:cubicBezTo>
                    <a:pt x="2718" y="305"/>
                    <a:pt x="2719" y="305"/>
                    <a:pt x="2720" y="306"/>
                  </a:cubicBezTo>
                  <a:cubicBezTo>
                    <a:pt x="2720" y="310"/>
                    <a:pt x="2720" y="314"/>
                    <a:pt x="2720" y="317"/>
                  </a:cubicBezTo>
                  <a:cubicBezTo>
                    <a:pt x="2727" y="314"/>
                    <a:pt x="2734" y="311"/>
                    <a:pt x="2741" y="307"/>
                  </a:cubicBezTo>
                  <a:cubicBezTo>
                    <a:pt x="2742" y="282"/>
                    <a:pt x="2743" y="256"/>
                    <a:pt x="2744" y="231"/>
                  </a:cubicBezTo>
                  <a:cubicBezTo>
                    <a:pt x="2742" y="229"/>
                    <a:pt x="2740" y="216"/>
                    <a:pt x="2754" y="218"/>
                  </a:cubicBezTo>
                  <a:cubicBezTo>
                    <a:pt x="2767" y="219"/>
                    <a:pt x="2766" y="230"/>
                    <a:pt x="2762" y="232"/>
                  </a:cubicBezTo>
                  <a:cubicBezTo>
                    <a:pt x="2762" y="297"/>
                    <a:pt x="2762" y="297"/>
                    <a:pt x="2762" y="297"/>
                  </a:cubicBezTo>
                  <a:cubicBezTo>
                    <a:pt x="2792" y="284"/>
                    <a:pt x="2792" y="284"/>
                    <a:pt x="2792" y="284"/>
                  </a:cubicBezTo>
                  <a:cubicBezTo>
                    <a:pt x="2803" y="279"/>
                    <a:pt x="2803" y="279"/>
                    <a:pt x="2803" y="279"/>
                  </a:cubicBezTo>
                  <a:cubicBezTo>
                    <a:pt x="2803" y="279"/>
                    <a:pt x="2803" y="279"/>
                    <a:pt x="2803" y="279"/>
                  </a:cubicBezTo>
                  <a:cubicBezTo>
                    <a:pt x="2803" y="327"/>
                    <a:pt x="2803" y="327"/>
                    <a:pt x="2803" y="327"/>
                  </a:cubicBezTo>
                  <a:cubicBezTo>
                    <a:pt x="2803" y="327"/>
                    <a:pt x="2803" y="327"/>
                    <a:pt x="2803" y="327"/>
                  </a:cubicBezTo>
                  <a:cubicBezTo>
                    <a:pt x="2803" y="496"/>
                    <a:pt x="2803" y="496"/>
                    <a:pt x="2803" y="496"/>
                  </a:cubicBezTo>
                  <a:cubicBezTo>
                    <a:pt x="1222" y="496"/>
                    <a:pt x="1222" y="496"/>
                    <a:pt x="1222" y="496"/>
                  </a:cubicBezTo>
                  <a:cubicBezTo>
                    <a:pt x="1222" y="496"/>
                    <a:pt x="1222" y="496"/>
                    <a:pt x="1222" y="496"/>
                  </a:cubicBezTo>
                  <a:cubicBezTo>
                    <a:pt x="0" y="496"/>
                    <a:pt x="0" y="496"/>
                    <a:pt x="0" y="496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20" y="269"/>
                    <a:pt x="20" y="269"/>
                    <a:pt x="20" y="269"/>
                  </a:cubicBezTo>
                  <a:cubicBezTo>
                    <a:pt x="23" y="188"/>
                    <a:pt x="23" y="188"/>
                    <a:pt x="23" y="188"/>
                  </a:cubicBezTo>
                  <a:cubicBezTo>
                    <a:pt x="23" y="190"/>
                    <a:pt x="23" y="190"/>
                    <a:pt x="23" y="190"/>
                  </a:cubicBezTo>
                  <a:cubicBezTo>
                    <a:pt x="21" y="189"/>
                    <a:pt x="20" y="188"/>
                    <a:pt x="20" y="186"/>
                  </a:cubicBezTo>
                  <a:cubicBezTo>
                    <a:pt x="20" y="184"/>
                    <a:pt x="20" y="181"/>
                    <a:pt x="20" y="179"/>
                  </a:cubicBezTo>
                  <a:cubicBezTo>
                    <a:pt x="20" y="176"/>
                    <a:pt x="28" y="173"/>
                    <a:pt x="37" y="173"/>
                  </a:cubicBezTo>
                  <a:cubicBezTo>
                    <a:pt x="46" y="173"/>
                    <a:pt x="55" y="175"/>
                    <a:pt x="55" y="179"/>
                  </a:cubicBezTo>
                  <a:cubicBezTo>
                    <a:pt x="55" y="181"/>
                    <a:pt x="55" y="184"/>
                    <a:pt x="55" y="186"/>
                  </a:cubicBezTo>
                  <a:cubicBezTo>
                    <a:pt x="55" y="188"/>
                    <a:pt x="54" y="189"/>
                    <a:pt x="53" y="189"/>
                  </a:cubicBezTo>
                  <a:cubicBezTo>
                    <a:pt x="53" y="212"/>
                    <a:pt x="53" y="212"/>
                    <a:pt x="53" y="212"/>
                  </a:cubicBezTo>
                  <a:cubicBezTo>
                    <a:pt x="113" y="236"/>
                    <a:pt x="113" y="236"/>
                    <a:pt x="113" y="236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3" y="144"/>
                    <a:pt x="112" y="142"/>
                    <a:pt x="112" y="141"/>
                  </a:cubicBezTo>
                  <a:cubicBezTo>
                    <a:pt x="112" y="138"/>
                    <a:pt x="112" y="135"/>
                    <a:pt x="112" y="132"/>
                  </a:cubicBezTo>
                  <a:cubicBezTo>
                    <a:pt x="113" y="128"/>
                    <a:pt x="122" y="125"/>
                    <a:pt x="131" y="125"/>
                  </a:cubicBezTo>
                  <a:cubicBezTo>
                    <a:pt x="141" y="125"/>
                    <a:pt x="151" y="127"/>
                    <a:pt x="151" y="132"/>
                  </a:cubicBezTo>
                  <a:cubicBezTo>
                    <a:pt x="151" y="135"/>
                    <a:pt x="151" y="138"/>
                    <a:pt x="151" y="141"/>
                  </a:cubicBezTo>
                  <a:cubicBezTo>
                    <a:pt x="151" y="142"/>
                    <a:pt x="150" y="143"/>
                    <a:pt x="148" y="144"/>
                  </a:cubicBezTo>
                  <a:cubicBezTo>
                    <a:pt x="152" y="251"/>
                    <a:pt x="152" y="251"/>
                    <a:pt x="152" y="251"/>
                  </a:cubicBezTo>
                  <a:cubicBezTo>
                    <a:pt x="190" y="267"/>
                    <a:pt x="190" y="267"/>
                    <a:pt x="190" y="267"/>
                  </a:cubicBezTo>
                  <a:cubicBezTo>
                    <a:pt x="190" y="250"/>
                    <a:pt x="190" y="250"/>
                    <a:pt x="190" y="250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28"/>
                    <a:pt x="196" y="228"/>
                    <a:pt x="196" y="228"/>
                  </a:cubicBezTo>
                  <a:cubicBezTo>
                    <a:pt x="202" y="226"/>
                    <a:pt x="202" y="226"/>
                    <a:pt x="202" y="226"/>
                  </a:cubicBezTo>
                  <a:cubicBezTo>
                    <a:pt x="197" y="224"/>
                    <a:pt x="197" y="224"/>
                    <a:pt x="197" y="224"/>
                  </a:cubicBezTo>
                  <a:cubicBezTo>
                    <a:pt x="206" y="212"/>
                    <a:pt x="206" y="212"/>
                    <a:pt x="206" y="212"/>
                  </a:cubicBezTo>
                  <a:cubicBezTo>
                    <a:pt x="227" y="206"/>
                    <a:pt x="227" y="206"/>
                    <a:pt x="227" y="206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45" y="41"/>
                    <a:pt x="245" y="41"/>
                    <a:pt x="245" y="41"/>
                  </a:cubicBezTo>
                  <a:cubicBezTo>
                    <a:pt x="245" y="36"/>
                    <a:pt x="255" y="32"/>
                    <a:pt x="268" y="32"/>
                  </a:cubicBezTo>
                  <a:cubicBezTo>
                    <a:pt x="282" y="32"/>
                    <a:pt x="292" y="36"/>
                    <a:pt x="292" y="41"/>
                  </a:cubicBezTo>
                  <a:cubicBezTo>
                    <a:pt x="298" y="223"/>
                    <a:pt x="298" y="223"/>
                    <a:pt x="298" y="223"/>
                  </a:cubicBezTo>
                  <a:cubicBezTo>
                    <a:pt x="336" y="214"/>
                    <a:pt x="336" y="214"/>
                    <a:pt x="336" y="214"/>
                  </a:cubicBezTo>
                  <a:cubicBezTo>
                    <a:pt x="426" y="291"/>
                    <a:pt x="426" y="291"/>
                    <a:pt x="426" y="291"/>
                  </a:cubicBezTo>
                  <a:cubicBezTo>
                    <a:pt x="426" y="306"/>
                    <a:pt x="426" y="306"/>
                    <a:pt x="426" y="306"/>
                  </a:cubicBezTo>
                  <a:cubicBezTo>
                    <a:pt x="438" y="304"/>
                    <a:pt x="438" y="304"/>
                    <a:pt x="438" y="304"/>
                  </a:cubicBezTo>
                  <a:cubicBezTo>
                    <a:pt x="438" y="293"/>
                    <a:pt x="438" y="293"/>
                    <a:pt x="438" y="293"/>
                  </a:cubicBezTo>
                  <a:cubicBezTo>
                    <a:pt x="436" y="292"/>
                    <a:pt x="435" y="291"/>
                    <a:pt x="435" y="290"/>
                  </a:cubicBezTo>
                  <a:cubicBezTo>
                    <a:pt x="435" y="283"/>
                    <a:pt x="434" y="282"/>
                    <a:pt x="438" y="280"/>
                  </a:cubicBezTo>
                  <a:cubicBezTo>
                    <a:pt x="438" y="277"/>
                    <a:pt x="438" y="277"/>
                    <a:pt x="438" y="277"/>
                  </a:cubicBezTo>
                  <a:cubicBezTo>
                    <a:pt x="436" y="276"/>
                    <a:pt x="435" y="275"/>
                    <a:pt x="435" y="274"/>
                  </a:cubicBezTo>
                  <a:cubicBezTo>
                    <a:pt x="435" y="267"/>
                    <a:pt x="434" y="266"/>
                    <a:pt x="438" y="264"/>
                  </a:cubicBezTo>
                  <a:cubicBezTo>
                    <a:pt x="438" y="262"/>
                    <a:pt x="438" y="262"/>
                    <a:pt x="438" y="262"/>
                  </a:cubicBezTo>
                  <a:cubicBezTo>
                    <a:pt x="436" y="261"/>
                    <a:pt x="435" y="260"/>
                    <a:pt x="435" y="259"/>
                  </a:cubicBezTo>
                  <a:cubicBezTo>
                    <a:pt x="435" y="252"/>
                    <a:pt x="434" y="251"/>
                    <a:pt x="438" y="249"/>
                  </a:cubicBezTo>
                  <a:cubicBezTo>
                    <a:pt x="438" y="242"/>
                    <a:pt x="438" y="242"/>
                    <a:pt x="438" y="242"/>
                  </a:cubicBezTo>
                  <a:cubicBezTo>
                    <a:pt x="439" y="242"/>
                    <a:pt x="439" y="242"/>
                    <a:pt x="439" y="242"/>
                  </a:cubicBezTo>
                  <a:cubicBezTo>
                    <a:pt x="440" y="235"/>
                    <a:pt x="469" y="235"/>
                    <a:pt x="470" y="242"/>
                  </a:cubicBezTo>
                  <a:cubicBezTo>
                    <a:pt x="470" y="242"/>
                    <a:pt x="470" y="242"/>
                    <a:pt x="470" y="242"/>
                  </a:cubicBezTo>
                  <a:cubicBezTo>
                    <a:pt x="470" y="249"/>
                    <a:pt x="470" y="249"/>
                    <a:pt x="470" y="249"/>
                  </a:cubicBezTo>
                  <a:cubicBezTo>
                    <a:pt x="474" y="251"/>
                    <a:pt x="473" y="252"/>
                    <a:pt x="473" y="259"/>
                  </a:cubicBezTo>
                  <a:cubicBezTo>
                    <a:pt x="473" y="260"/>
                    <a:pt x="472" y="261"/>
                    <a:pt x="470" y="262"/>
                  </a:cubicBezTo>
                  <a:cubicBezTo>
                    <a:pt x="470" y="265"/>
                    <a:pt x="470" y="265"/>
                    <a:pt x="470" y="265"/>
                  </a:cubicBezTo>
                  <a:cubicBezTo>
                    <a:pt x="474" y="266"/>
                    <a:pt x="473" y="267"/>
                    <a:pt x="473" y="274"/>
                  </a:cubicBezTo>
                  <a:cubicBezTo>
                    <a:pt x="473" y="275"/>
                    <a:pt x="472" y="276"/>
                    <a:pt x="470" y="277"/>
                  </a:cubicBezTo>
                  <a:cubicBezTo>
                    <a:pt x="470" y="280"/>
                    <a:pt x="470" y="280"/>
                    <a:pt x="470" y="280"/>
                  </a:cubicBezTo>
                  <a:cubicBezTo>
                    <a:pt x="474" y="282"/>
                    <a:pt x="473" y="283"/>
                    <a:pt x="473" y="290"/>
                  </a:cubicBezTo>
                  <a:cubicBezTo>
                    <a:pt x="473" y="291"/>
                    <a:pt x="472" y="292"/>
                    <a:pt x="470" y="292"/>
                  </a:cubicBezTo>
                  <a:cubicBezTo>
                    <a:pt x="470" y="300"/>
                    <a:pt x="470" y="300"/>
                    <a:pt x="470" y="300"/>
                  </a:cubicBezTo>
                  <a:cubicBezTo>
                    <a:pt x="475" y="299"/>
                    <a:pt x="475" y="299"/>
                    <a:pt x="475" y="299"/>
                  </a:cubicBezTo>
                  <a:cubicBezTo>
                    <a:pt x="482" y="308"/>
                    <a:pt x="482" y="308"/>
                    <a:pt x="482" y="308"/>
                  </a:cubicBezTo>
                  <a:cubicBezTo>
                    <a:pt x="490" y="301"/>
                    <a:pt x="490" y="301"/>
                    <a:pt x="490" y="301"/>
                  </a:cubicBezTo>
                  <a:cubicBezTo>
                    <a:pt x="514" y="307"/>
                    <a:pt x="514" y="307"/>
                    <a:pt x="514" y="307"/>
                  </a:cubicBezTo>
                  <a:cubicBezTo>
                    <a:pt x="518" y="193"/>
                    <a:pt x="518" y="193"/>
                    <a:pt x="518" y="193"/>
                  </a:cubicBezTo>
                  <a:cubicBezTo>
                    <a:pt x="518" y="190"/>
                    <a:pt x="524" y="187"/>
                    <a:pt x="532" y="187"/>
                  </a:cubicBezTo>
                  <a:cubicBezTo>
                    <a:pt x="541" y="187"/>
                    <a:pt x="547" y="189"/>
                    <a:pt x="547" y="193"/>
                  </a:cubicBezTo>
                  <a:cubicBezTo>
                    <a:pt x="551" y="301"/>
                    <a:pt x="551" y="301"/>
                    <a:pt x="551" y="301"/>
                  </a:cubicBezTo>
                  <a:cubicBezTo>
                    <a:pt x="558" y="296"/>
                    <a:pt x="558" y="296"/>
                    <a:pt x="558" y="296"/>
                  </a:cubicBezTo>
                  <a:cubicBezTo>
                    <a:pt x="571" y="300"/>
                    <a:pt x="571" y="300"/>
                    <a:pt x="571" y="300"/>
                  </a:cubicBezTo>
                  <a:cubicBezTo>
                    <a:pt x="577" y="307"/>
                    <a:pt x="577" y="307"/>
                    <a:pt x="577" y="307"/>
                  </a:cubicBezTo>
                  <a:cubicBezTo>
                    <a:pt x="574" y="308"/>
                    <a:pt x="574" y="308"/>
                    <a:pt x="574" y="308"/>
                  </a:cubicBezTo>
                  <a:cubicBezTo>
                    <a:pt x="578" y="310"/>
                    <a:pt x="578" y="310"/>
                    <a:pt x="578" y="310"/>
                  </a:cubicBezTo>
                  <a:cubicBezTo>
                    <a:pt x="578" y="322"/>
                    <a:pt x="578" y="322"/>
                    <a:pt x="578" y="322"/>
                  </a:cubicBezTo>
                  <a:cubicBezTo>
                    <a:pt x="582" y="323"/>
                    <a:pt x="582" y="323"/>
                    <a:pt x="582" y="323"/>
                  </a:cubicBezTo>
                  <a:cubicBezTo>
                    <a:pt x="582" y="334"/>
                    <a:pt x="582" y="334"/>
                    <a:pt x="582" y="334"/>
                  </a:cubicBezTo>
                  <a:cubicBezTo>
                    <a:pt x="605" y="324"/>
                    <a:pt x="605" y="324"/>
                    <a:pt x="605" y="324"/>
                  </a:cubicBezTo>
                  <a:cubicBezTo>
                    <a:pt x="607" y="257"/>
                    <a:pt x="607" y="257"/>
                    <a:pt x="607" y="257"/>
                  </a:cubicBezTo>
                  <a:cubicBezTo>
                    <a:pt x="606" y="256"/>
                    <a:pt x="606" y="256"/>
                    <a:pt x="606" y="255"/>
                  </a:cubicBezTo>
                  <a:cubicBezTo>
                    <a:pt x="606" y="253"/>
                    <a:pt x="606" y="251"/>
                    <a:pt x="606" y="249"/>
                  </a:cubicBezTo>
                  <a:cubicBezTo>
                    <a:pt x="606" y="246"/>
                    <a:pt x="612" y="245"/>
                    <a:pt x="618" y="245"/>
                  </a:cubicBezTo>
                  <a:cubicBezTo>
                    <a:pt x="624" y="245"/>
                    <a:pt x="630" y="247"/>
                    <a:pt x="630" y="249"/>
                  </a:cubicBezTo>
                  <a:cubicBezTo>
                    <a:pt x="630" y="251"/>
                    <a:pt x="630" y="253"/>
                    <a:pt x="630" y="255"/>
                  </a:cubicBezTo>
                  <a:cubicBezTo>
                    <a:pt x="630" y="256"/>
                    <a:pt x="629" y="257"/>
                    <a:pt x="628" y="257"/>
                  </a:cubicBezTo>
                  <a:cubicBezTo>
                    <a:pt x="630" y="314"/>
                    <a:pt x="630" y="314"/>
                    <a:pt x="630" y="314"/>
                  </a:cubicBezTo>
                  <a:cubicBezTo>
                    <a:pt x="667" y="299"/>
                    <a:pt x="667" y="299"/>
                    <a:pt x="667" y="299"/>
                  </a:cubicBezTo>
                  <a:cubicBezTo>
                    <a:pt x="667" y="285"/>
                    <a:pt x="667" y="285"/>
                    <a:pt x="667" y="285"/>
                  </a:cubicBezTo>
                  <a:cubicBezTo>
                    <a:pt x="666" y="285"/>
                    <a:pt x="666" y="284"/>
                    <a:pt x="666" y="283"/>
                  </a:cubicBezTo>
                  <a:cubicBezTo>
                    <a:pt x="666" y="282"/>
                    <a:pt x="666" y="280"/>
                    <a:pt x="666" y="279"/>
                  </a:cubicBezTo>
                  <a:cubicBezTo>
                    <a:pt x="666" y="276"/>
                    <a:pt x="672" y="275"/>
                    <a:pt x="677" y="275"/>
                  </a:cubicBezTo>
                  <a:cubicBezTo>
                    <a:pt x="682" y="275"/>
                    <a:pt x="688" y="277"/>
                    <a:pt x="688" y="279"/>
                  </a:cubicBezTo>
                  <a:cubicBezTo>
                    <a:pt x="688" y="280"/>
                    <a:pt x="688" y="282"/>
                    <a:pt x="688" y="283"/>
                  </a:cubicBezTo>
                  <a:cubicBezTo>
                    <a:pt x="688" y="284"/>
                    <a:pt x="687" y="285"/>
                    <a:pt x="686" y="286"/>
                  </a:cubicBezTo>
                  <a:cubicBezTo>
                    <a:pt x="686" y="284"/>
                    <a:pt x="686" y="284"/>
                    <a:pt x="686" y="284"/>
                  </a:cubicBezTo>
                  <a:cubicBezTo>
                    <a:pt x="686" y="298"/>
                    <a:pt x="686" y="298"/>
                    <a:pt x="686" y="298"/>
                  </a:cubicBezTo>
                  <a:cubicBezTo>
                    <a:pt x="885" y="360"/>
                    <a:pt x="885" y="360"/>
                    <a:pt x="885" y="360"/>
                  </a:cubicBezTo>
                  <a:cubicBezTo>
                    <a:pt x="887" y="359"/>
                    <a:pt x="887" y="359"/>
                    <a:pt x="887" y="359"/>
                  </a:cubicBezTo>
                  <a:cubicBezTo>
                    <a:pt x="900" y="359"/>
                    <a:pt x="900" y="359"/>
                    <a:pt x="900" y="359"/>
                  </a:cubicBezTo>
                  <a:cubicBezTo>
                    <a:pt x="900" y="349"/>
                    <a:pt x="900" y="349"/>
                    <a:pt x="900" y="349"/>
                  </a:cubicBezTo>
                  <a:cubicBezTo>
                    <a:pt x="906" y="342"/>
                    <a:pt x="906" y="342"/>
                    <a:pt x="906" y="342"/>
                  </a:cubicBezTo>
                  <a:cubicBezTo>
                    <a:pt x="970" y="342"/>
                    <a:pt x="970" y="342"/>
                    <a:pt x="970" y="342"/>
                  </a:cubicBezTo>
                  <a:cubicBezTo>
                    <a:pt x="970" y="359"/>
                    <a:pt x="970" y="359"/>
                    <a:pt x="970" y="359"/>
                  </a:cubicBezTo>
                  <a:cubicBezTo>
                    <a:pt x="981" y="359"/>
                    <a:pt x="981" y="359"/>
                    <a:pt x="981" y="359"/>
                  </a:cubicBezTo>
                  <a:cubicBezTo>
                    <a:pt x="981" y="351"/>
                    <a:pt x="981" y="351"/>
                    <a:pt x="981" y="351"/>
                  </a:cubicBezTo>
                  <a:cubicBezTo>
                    <a:pt x="978" y="350"/>
                    <a:pt x="976" y="348"/>
                    <a:pt x="976" y="346"/>
                  </a:cubicBezTo>
                  <a:cubicBezTo>
                    <a:pt x="976" y="343"/>
                    <a:pt x="976" y="339"/>
                    <a:pt x="976" y="336"/>
                  </a:cubicBezTo>
                  <a:cubicBezTo>
                    <a:pt x="976" y="334"/>
                    <a:pt x="978" y="333"/>
                    <a:pt x="981" y="332"/>
                  </a:cubicBezTo>
                  <a:cubicBezTo>
                    <a:pt x="981" y="327"/>
                    <a:pt x="981" y="327"/>
                    <a:pt x="981" y="327"/>
                  </a:cubicBezTo>
                  <a:cubicBezTo>
                    <a:pt x="978" y="326"/>
                    <a:pt x="976" y="324"/>
                    <a:pt x="976" y="323"/>
                  </a:cubicBezTo>
                  <a:cubicBezTo>
                    <a:pt x="976" y="319"/>
                    <a:pt x="976" y="316"/>
                    <a:pt x="976" y="312"/>
                  </a:cubicBezTo>
                  <a:cubicBezTo>
                    <a:pt x="976" y="311"/>
                    <a:pt x="978" y="309"/>
                    <a:pt x="981" y="308"/>
                  </a:cubicBezTo>
                  <a:cubicBezTo>
                    <a:pt x="981" y="304"/>
                    <a:pt x="981" y="304"/>
                    <a:pt x="981" y="304"/>
                  </a:cubicBezTo>
                  <a:cubicBezTo>
                    <a:pt x="978" y="303"/>
                    <a:pt x="976" y="302"/>
                    <a:pt x="976" y="300"/>
                  </a:cubicBezTo>
                  <a:cubicBezTo>
                    <a:pt x="976" y="296"/>
                    <a:pt x="976" y="293"/>
                    <a:pt x="976" y="289"/>
                  </a:cubicBezTo>
                  <a:cubicBezTo>
                    <a:pt x="976" y="288"/>
                    <a:pt x="978" y="286"/>
                    <a:pt x="981" y="285"/>
                  </a:cubicBezTo>
                  <a:cubicBezTo>
                    <a:pt x="981" y="274"/>
                    <a:pt x="981" y="274"/>
                    <a:pt x="981" y="274"/>
                  </a:cubicBezTo>
                  <a:cubicBezTo>
                    <a:pt x="981" y="274"/>
                    <a:pt x="981" y="274"/>
                    <a:pt x="981" y="274"/>
                  </a:cubicBezTo>
                  <a:cubicBezTo>
                    <a:pt x="981" y="274"/>
                    <a:pt x="981" y="274"/>
                    <a:pt x="981" y="274"/>
                  </a:cubicBezTo>
                  <a:cubicBezTo>
                    <a:pt x="982" y="269"/>
                    <a:pt x="992" y="266"/>
                    <a:pt x="1005" y="266"/>
                  </a:cubicBezTo>
                  <a:cubicBezTo>
                    <a:pt x="1018" y="266"/>
                    <a:pt x="1028" y="269"/>
                    <a:pt x="1029" y="274"/>
                  </a:cubicBezTo>
                  <a:cubicBezTo>
                    <a:pt x="1029" y="274"/>
                    <a:pt x="1029" y="274"/>
                    <a:pt x="1029" y="274"/>
                  </a:cubicBezTo>
                  <a:cubicBezTo>
                    <a:pt x="1029" y="285"/>
                    <a:pt x="1029" y="285"/>
                    <a:pt x="1029" y="285"/>
                  </a:cubicBezTo>
                  <a:cubicBezTo>
                    <a:pt x="1031" y="286"/>
                    <a:pt x="1033" y="288"/>
                    <a:pt x="1033" y="289"/>
                  </a:cubicBezTo>
                  <a:cubicBezTo>
                    <a:pt x="1033" y="293"/>
                    <a:pt x="1033" y="296"/>
                    <a:pt x="1033" y="300"/>
                  </a:cubicBezTo>
                  <a:cubicBezTo>
                    <a:pt x="1033" y="301"/>
                    <a:pt x="1031" y="303"/>
                    <a:pt x="1029" y="304"/>
                  </a:cubicBezTo>
                  <a:cubicBezTo>
                    <a:pt x="1029" y="308"/>
                    <a:pt x="1029" y="308"/>
                    <a:pt x="1029" y="308"/>
                  </a:cubicBezTo>
                  <a:cubicBezTo>
                    <a:pt x="1031" y="309"/>
                    <a:pt x="1033" y="311"/>
                    <a:pt x="1033" y="312"/>
                  </a:cubicBezTo>
                  <a:cubicBezTo>
                    <a:pt x="1033" y="316"/>
                    <a:pt x="1033" y="319"/>
                    <a:pt x="1033" y="323"/>
                  </a:cubicBezTo>
                  <a:cubicBezTo>
                    <a:pt x="1033" y="324"/>
                    <a:pt x="1031" y="326"/>
                    <a:pt x="1029" y="327"/>
                  </a:cubicBezTo>
                  <a:cubicBezTo>
                    <a:pt x="1029" y="332"/>
                    <a:pt x="1029" y="332"/>
                    <a:pt x="1029" y="332"/>
                  </a:cubicBezTo>
                  <a:cubicBezTo>
                    <a:pt x="1031" y="333"/>
                    <a:pt x="1033" y="334"/>
                    <a:pt x="1033" y="336"/>
                  </a:cubicBezTo>
                  <a:cubicBezTo>
                    <a:pt x="1033" y="339"/>
                    <a:pt x="1033" y="343"/>
                    <a:pt x="1033" y="346"/>
                  </a:cubicBezTo>
                  <a:cubicBezTo>
                    <a:pt x="1033" y="348"/>
                    <a:pt x="1031" y="349"/>
                    <a:pt x="1029" y="350"/>
                  </a:cubicBezTo>
                  <a:cubicBezTo>
                    <a:pt x="1029" y="359"/>
                    <a:pt x="1029" y="359"/>
                    <a:pt x="1029" y="359"/>
                  </a:cubicBezTo>
                  <a:cubicBezTo>
                    <a:pt x="1038" y="359"/>
                    <a:pt x="1038" y="359"/>
                    <a:pt x="1038" y="359"/>
                  </a:cubicBezTo>
                  <a:cubicBezTo>
                    <a:pt x="1038" y="370"/>
                    <a:pt x="1038" y="370"/>
                    <a:pt x="1038" y="370"/>
                  </a:cubicBezTo>
                  <a:cubicBezTo>
                    <a:pt x="1099" y="370"/>
                    <a:pt x="1099" y="370"/>
                    <a:pt x="1099" y="370"/>
                  </a:cubicBezTo>
                  <a:cubicBezTo>
                    <a:pt x="1099" y="357"/>
                    <a:pt x="1099" y="357"/>
                    <a:pt x="1099" y="357"/>
                  </a:cubicBezTo>
                  <a:cubicBezTo>
                    <a:pt x="1109" y="357"/>
                    <a:pt x="1109" y="357"/>
                    <a:pt x="1109" y="357"/>
                  </a:cubicBezTo>
                  <a:cubicBezTo>
                    <a:pt x="1109" y="339"/>
                    <a:pt x="1109" y="339"/>
                    <a:pt x="1109" y="339"/>
                  </a:cubicBezTo>
                  <a:cubicBezTo>
                    <a:pt x="1109" y="338"/>
                    <a:pt x="1110" y="337"/>
                    <a:pt x="1111" y="337"/>
                  </a:cubicBezTo>
                  <a:cubicBezTo>
                    <a:pt x="1120" y="337"/>
                    <a:pt x="1120" y="337"/>
                    <a:pt x="1120" y="337"/>
                  </a:cubicBezTo>
                  <a:cubicBezTo>
                    <a:pt x="1121" y="337"/>
                    <a:pt x="1122" y="338"/>
                    <a:pt x="1122" y="339"/>
                  </a:cubicBezTo>
                  <a:cubicBezTo>
                    <a:pt x="1122" y="357"/>
                    <a:pt x="1122" y="357"/>
                    <a:pt x="1122" y="357"/>
                  </a:cubicBezTo>
                  <a:cubicBezTo>
                    <a:pt x="1130" y="357"/>
                    <a:pt x="1130" y="357"/>
                    <a:pt x="1130" y="357"/>
                  </a:cubicBezTo>
                  <a:cubicBezTo>
                    <a:pt x="1130" y="339"/>
                    <a:pt x="1130" y="339"/>
                    <a:pt x="1130" y="339"/>
                  </a:cubicBezTo>
                  <a:cubicBezTo>
                    <a:pt x="1130" y="338"/>
                    <a:pt x="1131" y="337"/>
                    <a:pt x="1133" y="337"/>
                  </a:cubicBezTo>
                  <a:cubicBezTo>
                    <a:pt x="1141" y="337"/>
                    <a:pt x="1141" y="337"/>
                    <a:pt x="1141" y="337"/>
                  </a:cubicBezTo>
                  <a:cubicBezTo>
                    <a:pt x="1142" y="337"/>
                    <a:pt x="1144" y="338"/>
                    <a:pt x="1144" y="339"/>
                  </a:cubicBezTo>
                  <a:cubicBezTo>
                    <a:pt x="1144" y="357"/>
                    <a:pt x="1144" y="357"/>
                    <a:pt x="1144" y="357"/>
                  </a:cubicBezTo>
                  <a:cubicBezTo>
                    <a:pt x="1197" y="357"/>
                    <a:pt x="1197" y="357"/>
                    <a:pt x="1197" y="357"/>
                  </a:cubicBezTo>
                  <a:cubicBezTo>
                    <a:pt x="1211" y="371"/>
                    <a:pt x="1211" y="371"/>
                    <a:pt x="1211" y="371"/>
                  </a:cubicBezTo>
                  <a:cubicBezTo>
                    <a:pt x="1211" y="379"/>
                    <a:pt x="1211" y="379"/>
                    <a:pt x="1211" y="379"/>
                  </a:cubicBezTo>
                  <a:cubicBezTo>
                    <a:pt x="1264" y="379"/>
                    <a:pt x="1264" y="379"/>
                    <a:pt x="1264" y="379"/>
                  </a:cubicBezTo>
                  <a:cubicBezTo>
                    <a:pt x="1264" y="356"/>
                    <a:pt x="1264" y="356"/>
                    <a:pt x="1264" y="356"/>
                  </a:cubicBezTo>
                  <a:cubicBezTo>
                    <a:pt x="1264" y="282"/>
                    <a:pt x="1264" y="282"/>
                    <a:pt x="1264" y="282"/>
                  </a:cubicBezTo>
                  <a:cubicBezTo>
                    <a:pt x="1264" y="275"/>
                    <a:pt x="1264" y="275"/>
                    <a:pt x="1264" y="275"/>
                  </a:cubicBezTo>
                  <a:cubicBezTo>
                    <a:pt x="1264" y="265"/>
                    <a:pt x="1272" y="256"/>
                    <a:pt x="1283" y="256"/>
                  </a:cubicBezTo>
                  <a:cubicBezTo>
                    <a:pt x="1292" y="256"/>
                    <a:pt x="1292" y="256"/>
                    <a:pt x="1292" y="256"/>
                  </a:cubicBezTo>
                  <a:cubicBezTo>
                    <a:pt x="1295" y="244"/>
                    <a:pt x="1306" y="235"/>
                    <a:pt x="1319" y="235"/>
                  </a:cubicBezTo>
                  <a:cubicBezTo>
                    <a:pt x="1347" y="235"/>
                    <a:pt x="1347" y="235"/>
                    <a:pt x="1347" y="235"/>
                  </a:cubicBezTo>
                  <a:cubicBezTo>
                    <a:pt x="1350" y="223"/>
                    <a:pt x="1365" y="216"/>
                    <a:pt x="1382" y="214"/>
                  </a:cubicBezTo>
                  <a:cubicBezTo>
                    <a:pt x="1382" y="206"/>
                    <a:pt x="1382" y="206"/>
                    <a:pt x="1382" y="206"/>
                  </a:cubicBezTo>
                  <a:cubicBezTo>
                    <a:pt x="1382" y="205"/>
                    <a:pt x="1383" y="204"/>
                    <a:pt x="1385" y="204"/>
                  </a:cubicBezTo>
                  <a:cubicBezTo>
                    <a:pt x="1399" y="204"/>
                    <a:pt x="1399" y="204"/>
                    <a:pt x="1399" y="204"/>
                  </a:cubicBezTo>
                  <a:cubicBezTo>
                    <a:pt x="1401" y="204"/>
                    <a:pt x="1402" y="205"/>
                    <a:pt x="1402" y="206"/>
                  </a:cubicBezTo>
                  <a:cubicBezTo>
                    <a:pt x="1402" y="214"/>
                    <a:pt x="1402" y="214"/>
                    <a:pt x="1402" y="214"/>
                  </a:cubicBezTo>
                  <a:cubicBezTo>
                    <a:pt x="1421" y="216"/>
                    <a:pt x="1437" y="225"/>
                    <a:pt x="1437" y="240"/>
                  </a:cubicBezTo>
                  <a:cubicBezTo>
                    <a:pt x="1437" y="356"/>
                    <a:pt x="1437" y="356"/>
                    <a:pt x="1437" y="356"/>
                  </a:cubicBezTo>
                  <a:cubicBezTo>
                    <a:pt x="1447" y="356"/>
                    <a:pt x="1447" y="356"/>
                    <a:pt x="1447" y="356"/>
                  </a:cubicBezTo>
                  <a:cubicBezTo>
                    <a:pt x="1447" y="240"/>
                    <a:pt x="1447" y="240"/>
                    <a:pt x="1447" y="240"/>
                  </a:cubicBezTo>
                  <a:cubicBezTo>
                    <a:pt x="1447" y="225"/>
                    <a:pt x="1464" y="216"/>
                    <a:pt x="1483" y="214"/>
                  </a:cubicBezTo>
                  <a:cubicBezTo>
                    <a:pt x="1483" y="206"/>
                    <a:pt x="1483" y="206"/>
                    <a:pt x="1483" y="206"/>
                  </a:cubicBezTo>
                  <a:cubicBezTo>
                    <a:pt x="1483" y="205"/>
                    <a:pt x="1484" y="204"/>
                    <a:pt x="1486" y="204"/>
                  </a:cubicBezTo>
                  <a:cubicBezTo>
                    <a:pt x="1500" y="204"/>
                    <a:pt x="1500" y="204"/>
                    <a:pt x="1500" y="204"/>
                  </a:cubicBezTo>
                  <a:cubicBezTo>
                    <a:pt x="1502" y="204"/>
                    <a:pt x="1503" y="205"/>
                    <a:pt x="1503" y="206"/>
                  </a:cubicBezTo>
                  <a:cubicBezTo>
                    <a:pt x="1503" y="214"/>
                    <a:pt x="1503" y="214"/>
                    <a:pt x="1503" y="214"/>
                  </a:cubicBezTo>
                  <a:cubicBezTo>
                    <a:pt x="1522" y="216"/>
                    <a:pt x="1538" y="225"/>
                    <a:pt x="1538" y="240"/>
                  </a:cubicBezTo>
                  <a:cubicBezTo>
                    <a:pt x="1538" y="356"/>
                    <a:pt x="1538" y="356"/>
                    <a:pt x="1538" y="356"/>
                  </a:cubicBezTo>
                  <a:cubicBezTo>
                    <a:pt x="1548" y="356"/>
                    <a:pt x="1548" y="356"/>
                    <a:pt x="1548" y="356"/>
                  </a:cubicBezTo>
                  <a:cubicBezTo>
                    <a:pt x="1548" y="240"/>
                    <a:pt x="1548" y="240"/>
                    <a:pt x="1548" y="240"/>
                  </a:cubicBezTo>
                  <a:cubicBezTo>
                    <a:pt x="1548" y="225"/>
                    <a:pt x="1565" y="216"/>
                    <a:pt x="1584" y="214"/>
                  </a:cubicBezTo>
                  <a:cubicBezTo>
                    <a:pt x="1584" y="206"/>
                    <a:pt x="1584" y="206"/>
                    <a:pt x="1584" y="206"/>
                  </a:cubicBezTo>
                  <a:cubicBezTo>
                    <a:pt x="1584" y="205"/>
                    <a:pt x="1585" y="204"/>
                    <a:pt x="1587" y="204"/>
                  </a:cubicBezTo>
                  <a:cubicBezTo>
                    <a:pt x="1601" y="204"/>
                    <a:pt x="1601" y="204"/>
                    <a:pt x="1601" y="204"/>
                  </a:cubicBezTo>
                  <a:cubicBezTo>
                    <a:pt x="1602" y="204"/>
                    <a:pt x="1604" y="205"/>
                    <a:pt x="1604" y="206"/>
                  </a:cubicBezTo>
                  <a:cubicBezTo>
                    <a:pt x="1604" y="214"/>
                    <a:pt x="1604" y="214"/>
                    <a:pt x="1604" y="214"/>
                  </a:cubicBezTo>
                  <a:cubicBezTo>
                    <a:pt x="1623" y="216"/>
                    <a:pt x="1639" y="225"/>
                    <a:pt x="1639" y="240"/>
                  </a:cubicBezTo>
                  <a:cubicBezTo>
                    <a:pt x="1639" y="284"/>
                    <a:pt x="1639" y="284"/>
                    <a:pt x="1639" y="284"/>
                  </a:cubicBezTo>
                  <a:cubicBezTo>
                    <a:pt x="1669" y="284"/>
                    <a:pt x="1669" y="284"/>
                    <a:pt x="1669" y="284"/>
                  </a:cubicBezTo>
                  <a:cubicBezTo>
                    <a:pt x="1684" y="284"/>
                    <a:pt x="1697" y="297"/>
                    <a:pt x="1697" y="311"/>
                  </a:cubicBezTo>
                  <a:cubicBezTo>
                    <a:pt x="1701" y="311"/>
                    <a:pt x="1701" y="311"/>
                    <a:pt x="1701" y="311"/>
                  </a:cubicBezTo>
                  <a:cubicBezTo>
                    <a:pt x="1717" y="311"/>
                    <a:pt x="1729" y="324"/>
                    <a:pt x="1729" y="339"/>
                  </a:cubicBezTo>
                  <a:cubicBezTo>
                    <a:pt x="1729" y="336"/>
                    <a:pt x="1729" y="336"/>
                    <a:pt x="1729" y="336"/>
                  </a:cubicBezTo>
                  <a:cubicBezTo>
                    <a:pt x="1768" y="329"/>
                    <a:pt x="1768" y="329"/>
                    <a:pt x="1768" y="329"/>
                  </a:cubicBezTo>
                  <a:cubicBezTo>
                    <a:pt x="1801" y="348"/>
                    <a:pt x="1801" y="348"/>
                    <a:pt x="1801" y="348"/>
                  </a:cubicBezTo>
                  <a:cubicBezTo>
                    <a:pt x="1801" y="338"/>
                    <a:pt x="1801" y="329"/>
                    <a:pt x="1802" y="320"/>
                  </a:cubicBezTo>
                  <a:cubicBezTo>
                    <a:pt x="1795" y="318"/>
                    <a:pt x="1793" y="316"/>
                    <a:pt x="1795" y="310"/>
                  </a:cubicBezTo>
                  <a:cubicBezTo>
                    <a:pt x="1795" y="309"/>
                    <a:pt x="1798" y="308"/>
                    <a:pt x="1802" y="307"/>
                  </a:cubicBezTo>
                  <a:cubicBezTo>
                    <a:pt x="1802" y="306"/>
                    <a:pt x="1802" y="305"/>
                    <a:pt x="1802" y="305"/>
                  </a:cubicBezTo>
                  <a:cubicBezTo>
                    <a:pt x="1794" y="303"/>
                    <a:pt x="1794" y="301"/>
                    <a:pt x="1795" y="295"/>
                  </a:cubicBezTo>
                  <a:cubicBezTo>
                    <a:pt x="1796" y="294"/>
                    <a:pt x="1798" y="293"/>
                    <a:pt x="1802" y="292"/>
                  </a:cubicBezTo>
                  <a:cubicBezTo>
                    <a:pt x="1802" y="291"/>
                    <a:pt x="1802" y="291"/>
                    <a:pt x="1802" y="290"/>
                  </a:cubicBezTo>
                  <a:cubicBezTo>
                    <a:pt x="1795" y="288"/>
                    <a:pt x="1795" y="286"/>
                    <a:pt x="1795" y="280"/>
                  </a:cubicBezTo>
                  <a:cubicBezTo>
                    <a:pt x="1796" y="279"/>
                    <a:pt x="1798" y="278"/>
                    <a:pt x="1802" y="277"/>
                  </a:cubicBezTo>
                  <a:cubicBezTo>
                    <a:pt x="1802" y="275"/>
                    <a:pt x="1802" y="273"/>
                    <a:pt x="1802" y="270"/>
                  </a:cubicBezTo>
                  <a:cubicBezTo>
                    <a:pt x="1802" y="270"/>
                    <a:pt x="1802" y="270"/>
                    <a:pt x="1802" y="270"/>
                  </a:cubicBezTo>
                  <a:cubicBezTo>
                    <a:pt x="1804" y="264"/>
                    <a:pt x="1857" y="266"/>
                    <a:pt x="1859" y="272"/>
                  </a:cubicBezTo>
                  <a:cubicBezTo>
                    <a:pt x="1859" y="272"/>
                    <a:pt x="1859" y="272"/>
                    <a:pt x="1859" y="272"/>
                  </a:cubicBezTo>
                  <a:cubicBezTo>
                    <a:pt x="1859" y="273"/>
                    <a:pt x="1859" y="274"/>
                    <a:pt x="1859" y="275"/>
                  </a:cubicBezTo>
                  <a:cubicBezTo>
                    <a:pt x="1860" y="274"/>
                    <a:pt x="1862" y="274"/>
                    <a:pt x="1866" y="273"/>
                  </a:cubicBezTo>
                  <a:cubicBezTo>
                    <a:pt x="1866" y="272"/>
                    <a:pt x="1866" y="272"/>
                    <a:pt x="1866" y="271"/>
                  </a:cubicBezTo>
                  <a:cubicBezTo>
                    <a:pt x="1858" y="269"/>
                    <a:pt x="1857" y="267"/>
                    <a:pt x="1858" y="260"/>
                  </a:cubicBezTo>
                  <a:cubicBezTo>
                    <a:pt x="1859" y="258"/>
                    <a:pt x="1861" y="257"/>
                    <a:pt x="1866" y="257"/>
                  </a:cubicBezTo>
                  <a:cubicBezTo>
                    <a:pt x="1866" y="254"/>
                    <a:pt x="1866" y="251"/>
                    <a:pt x="1866" y="249"/>
                  </a:cubicBezTo>
                  <a:cubicBezTo>
                    <a:pt x="1866" y="249"/>
                    <a:pt x="1866" y="249"/>
                    <a:pt x="1866" y="249"/>
                  </a:cubicBezTo>
                  <a:cubicBezTo>
                    <a:pt x="1868" y="241"/>
                    <a:pt x="1926" y="244"/>
                    <a:pt x="1928" y="251"/>
                  </a:cubicBezTo>
                  <a:cubicBezTo>
                    <a:pt x="1928" y="251"/>
                    <a:pt x="1928" y="251"/>
                    <a:pt x="1928" y="251"/>
                  </a:cubicBezTo>
                  <a:cubicBezTo>
                    <a:pt x="1928" y="254"/>
                    <a:pt x="1928" y="257"/>
                    <a:pt x="1928" y="259"/>
                  </a:cubicBezTo>
                  <a:cubicBezTo>
                    <a:pt x="1929" y="259"/>
                    <a:pt x="1929" y="260"/>
                    <a:pt x="1930" y="260"/>
                  </a:cubicBezTo>
                  <a:cubicBezTo>
                    <a:pt x="1930" y="256"/>
                    <a:pt x="1932" y="256"/>
                    <a:pt x="1938" y="255"/>
                  </a:cubicBezTo>
                  <a:cubicBezTo>
                    <a:pt x="1938" y="254"/>
                    <a:pt x="1938" y="253"/>
                    <a:pt x="1938" y="252"/>
                  </a:cubicBezTo>
                  <a:cubicBezTo>
                    <a:pt x="1929" y="249"/>
                    <a:pt x="1928" y="247"/>
                    <a:pt x="1930" y="238"/>
                  </a:cubicBezTo>
                  <a:cubicBezTo>
                    <a:pt x="1930" y="237"/>
                    <a:pt x="1934" y="236"/>
                    <a:pt x="1938" y="235"/>
                  </a:cubicBezTo>
                  <a:cubicBezTo>
                    <a:pt x="1938" y="232"/>
                    <a:pt x="1939" y="228"/>
                    <a:pt x="1939" y="225"/>
                  </a:cubicBezTo>
                  <a:cubicBezTo>
                    <a:pt x="1939" y="225"/>
                    <a:pt x="1939" y="225"/>
                    <a:pt x="1939" y="225"/>
                  </a:cubicBezTo>
                  <a:cubicBezTo>
                    <a:pt x="1942" y="216"/>
                    <a:pt x="2010" y="220"/>
                    <a:pt x="2012" y="229"/>
                  </a:cubicBezTo>
                  <a:cubicBezTo>
                    <a:pt x="2012" y="229"/>
                    <a:pt x="2012" y="229"/>
                    <a:pt x="2012" y="229"/>
                  </a:cubicBezTo>
                  <a:cubicBezTo>
                    <a:pt x="2012" y="232"/>
                    <a:pt x="2012" y="235"/>
                    <a:pt x="2012" y="238"/>
                  </a:cubicBezTo>
                  <a:cubicBezTo>
                    <a:pt x="2020" y="241"/>
                    <a:pt x="2019" y="243"/>
                    <a:pt x="2019" y="251"/>
                  </a:cubicBezTo>
                  <a:cubicBezTo>
                    <a:pt x="2019" y="252"/>
                    <a:pt x="2016" y="254"/>
                    <a:pt x="2012" y="254"/>
                  </a:cubicBezTo>
                  <a:cubicBezTo>
                    <a:pt x="2012" y="255"/>
                    <a:pt x="2012" y="256"/>
                    <a:pt x="2012" y="256"/>
                  </a:cubicBezTo>
                  <a:cubicBezTo>
                    <a:pt x="2057" y="244"/>
                    <a:pt x="2097" y="226"/>
                    <a:pt x="2146" y="213"/>
                  </a:cubicBezTo>
                  <a:cubicBezTo>
                    <a:pt x="2148" y="176"/>
                    <a:pt x="2150" y="140"/>
                    <a:pt x="2151" y="104"/>
                  </a:cubicBezTo>
                  <a:cubicBezTo>
                    <a:pt x="2151" y="105"/>
                    <a:pt x="2151" y="106"/>
                    <a:pt x="2151" y="107"/>
                  </a:cubicBezTo>
                  <a:cubicBezTo>
                    <a:pt x="2145" y="104"/>
                    <a:pt x="2146" y="98"/>
                    <a:pt x="2147" y="92"/>
                  </a:cubicBezTo>
                  <a:cubicBezTo>
                    <a:pt x="2148" y="82"/>
                    <a:pt x="2188" y="85"/>
                    <a:pt x="2189" y="96"/>
                  </a:cubicBezTo>
                  <a:cubicBezTo>
                    <a:pt x="2189" y="100"/>
                    <a:pt x="2190" y="107"/>
                    <a:pt x="2186" y="109"/>
                  </a:cubicBezTo>
                  <a:cubicBezTo>
                    <a:pt x="2186" y="119"/>
                    <a:pt x="2186" y="129"/>
                    <a:pt x="2186" y="139"/>
                  </a:cubicBezTo>
                  <a:cubicBezTo>
                    <a:pt x="2209" y="151"/>
                    <a:pt x="2231" y="163"/>
                    <a:pt x="2254" y="175"/>
                  </a:cubicBezTo>
                  <a:cubicBezTo>
                    <a:pt x="2255" y="135"/>
                    <a:pt x="2257" y="96"/>
                    <a:pt x="2259" y="57"/>
                  </a:cubicBezTo>
                  <a:cubicBezTo>
                    <a:pt x="2253" y="53"/>
                    <a:pt x="2255" y="46"/>
                    <a:pt x="2255" y="40"/>
                  </a:cubicBezTo>
                  <a:cubicBezTo>
                    <a:pt x="2256" y="28"/>
                    <a:pt x="2298" y="32"/>
                    <a:pt x="2298" y="44"/>
                  </a:cubicBezTo>
                  <a:cubicBezTo>
                    <a:pt x="2298" y="49"/>
                    <a:pt x="2300" y="57"/>
                    <a:pt x="2295" y="60"/>
                  </a:cubicBezTo>
                  <a:cubicBezTo>
                    <a:pt x="2296" y="198"/>
                    <a:pt x="2296" y="198"/>
                    <a:pt x="2296" y="198"/>
                  </a:cubicBezTo>
                  <a:cubicBezTo>
                    <a:pt x="2310" y="205"/>
                    <a:pt x="2324" y="212"/>
                    <a:pt x="2338" y="219"/>
                  </a:cubicBezTo>
                  <a:cubicBezTo>
                    <a:pt x="2338" y="213"/>
                    <a:pt x="2338" y="206"/>
                    <a:pt x="2338" y="199"/>
                  </a:cubicBezTo>
                  <a:cubicBezTo>
                    <a:pt x="2340" y="198"/>
                    <a:pt x="2342" y="198"/>
                    <a:pt x="2344" y="197"/>
                  </a:cubicBezTo>
                  <a:cubicBezTo>
                    <a:pt x="2344" y="189"/>
                    <a:pt x="2345" y="180"/>
                    <a:pt x="2345" y="171"/>
                  </a:cubicBezTo>
                  <a:cubicBezTo>
                    <a:pt x="2352" y="169"/>
                    <a:pt x="2352" y="169"/>
                    <a:pt x="2352" y="169"/>
                  </a:cubicBezTo>
                  <a:cubicBezTo>
                    <a:pt x="2367" y="151"/>
                    <a:pt x="2367" y="151"/>
                    <a:pt x="2367" y="151"/>
                  </a:cubicBezTo>
                  <a:cubicBezTo>
                    <a:pt x="2391" y="156"/>
                    <a:pt x="2391" y="156"/>
                    <a:pt x="2391" y="156"/>
                  </a:cubicBezTo>
                  <a:cubicBezTo>
                    <a:pt x="2405" y="15"/>
                    <a:pt x="2405" y="15"/>
                    <a:pt x="2405" y="15"/>
                  </a:cubicBezTo>
                  <a:cubicBezTo>
                    <a:pt x="2405" y="0"/>
                    <a:pt x="2454" y="1"/>
                    <a:pt x="2454" y="15"/>
                  </a:cubicBezTo>
                  <a:close/>
                  <a:moveTo>
                    <a:pt x="1667" y="356"/>
                  </a:moveTo>
                  <a:cubicBezTo>
                    <a:pt x="1684" y="356"/>
                    <a:pt x="1684" y="356"/>
                    <a:pt x="1684" y="356"/>
                  </a:cubicBezTo>
                  <a:cubicBezTo>
                    <a:pt x="1684" y="325"/>
                    <a:pt x="1684" y="325"/>
                    <a:pt x="1684" y="325"/>
                  </a:cubicBezTo>
                  <a:cubicBezTo>
                    <a:pt x="1682" y="325"/>
                    <a:pt x="1682" y="325"/>
                    <a:pt x="1682" y="325"/>
                  </a:cubicBezTo>
                  <a:cubicBezTo>
                    <a:pt x="1674" y="325"/>
                    <a:pt x="1667" y="331"/>
                    <a:pt x="1667" y="339"/>
                  </a:cubicBezTo>
                  <a:cubicBezTo>
                    <a:pt x="1667" y="356"/>
                    <a:pt x="1667" y="356"/>
                    <a:pt x="1667" y="356"/>
                  </a:cubicBezTo>
                  <a:close/>
                  <a:moveTo>
                    <a:pt x="1697" y="356"/>
                  </a:moveTo>
                  <a:cubicBezTo>
                    <a:pt x="1716" y="356"/>
                    <a:pt x="1716" y="356"/>
                    <a:pt x="1716" y="356"/>
                  </a:cubicBezTo>
                  <a:cubicBezTo>
                    <a:pt x="1716" y="339"/>
                    <a:pt x="1716" y="339"/>
                    <a:pt x="1716" y="339"/>
                  </a:cubicBezTo>
                  <a:cubicBezTo>
                    <a:pt x="1716" y="331"/>
                    <a:pt x="1709" y="325"/>
                    <a:pt x="1701" y="325"/>
                  </a:cubicBezTo>
                  <a:cubicBezTo>
                    <a:pt x="1697" y="325"/>
                    <a:pt x="1697" y="325"/>
                    <a:pt x="1697" y="325"/>
                  </a:cubicBezTo>
                  <a:cubicBezTo>
                    <a:pt x="1697" y="325"/>
                    <a:pt x="1697" y="325"/>
                    <a:pt x="1697" y="325"/>
                  </a:cubicBezTo>
                  <a:cubicBezTo>
                    <a:pt x="1697" y="325"/>
                    <a:pt x="1697" y="325"/>
                    <a:pt x="1697" y="325"/>
                  </a:cubicBezTo>
                  <a:cubicBezTo>
                    <a:pt x="1697" y="356"/>
                    <a:pt x="1697" y="356"/>
                    <a:pt x="1697" y="356"/>
                  </a:cubicBezTo>
                  <a:close/>
                  <a:moveTo>
                    <a:pt x="1654" y="356"/>
                  </a:moveTo>
                  <a:cubicBezTo>
                    <a:pt x="1654" y="339"/>
                    <a:pt x="1654" y="339"/>
                    <a:pt x="1654" y="339"/>
                  </a:cubicBezTo>
                  <a:cubicBezTo>
                    <a:pt x="1654" y="324"/>
                    <a:pt x="1666" y="311"/>
                    <a:pt x="1682" y="311"/>
                  </a:cubicBezTo>
                  <a:cubicBezTo>
                    <a:pt x="1684" y="311"/>
                    <a:pt x="1684" y="311"/>
                    <a:pt x="1684" y="311"/>
                  </a:cubicBezTo>
                  <a:cubicBezTo>
                    <a:pt x="1683" y="304"/>
                    <a:pt x="1677" y="297"/>
                    <a:pt x="1669" y="297"/>
                  </a:cubicBezTo>
                  <a:cubicBezTo>
                    <a:pt x="1639" y="297"/>
                    <a:pt x="1639" y="297"/>
                    <a:pt x="1639" y="297"/>
                  </a:cubicBezTo>
                  <a:cubicBezTo>
                    <a:pt x="1639" y="356"/>
                    <a:pt x="1639" y="356"/>
                    <a:pt x="1639" y="356"/>
                  </a:cubicBezTo>
                  <a:cubicBezTo>
                    <a:pt x="1654" y="356"/>
                    <a:pt x="1654" y="356"/>
                    <a:pt x="1654" y="356"/>
                  </a:cubicBezTo>
                  <a:close/>
                  <a:moveTo>
                    <a:pt x="1340" y="326"/>
                  </a:moveTo>
                  <a:cubicBezTo>
                    <a:pt x="1336" y="326"/>
                    <a:pt x="1334" y="329"/>
                    <a:pt x="1334" y="332"/>
                  </a:cubicBezTo>
                  <a:cubicBezTo>
                    <a:pt x="1334" y="341"/>
                    <a:pt x="1334" y="341"/>
                    <a:pt x="1334" y="341"/>
                  </a:cubicBezTo>
                  <a:cubicBezTo>
                    <a:pt x="1347" y="341"/>
                    <a:pt x="1347" y="341"/>
                    <a:pt x="1347" y="341"/>
                  </a:cubicBezTo>
                  <a:cubicBezTo>
                    <a:pt x="1347" y="326"/>
                    <a:pt x="1347" y="326"/>
                    <a:pt x="1347" y="326"/>
                  </a:cubicBezTo>
                  <a:cubicBezTo>
                    <a:pt x="1340" y="326"/>
                    <a:pt x="1340" y="326"/>
                    <a:pt x="1340" y="326"/>
                  </a:cubicBezTo>
                  <a:close/>
                  <a:moveTo>
                    <a:pt x="1347" y="313"/>
                  </a:moveTo>
                  <a:cubicBezTo>
                    <a:pt x="1347" y="248"/>
                    <a:pt x="1347" y="248"/>
                    <a:pt x="1347" y="248"/>
                  </a:cubicBezTo>
                  <a:cubicBezTo>
                    <a:pt x="1319" y="248"/>
                    <a:pt x="1319" y="248"/>
                    <a:pt x="1319" y="248"/>
                  </a:cubicBezTo>
                  <a:cubicBezTo>
                    <a:pt x="1311" y="248"/>
                    <a:pt x="1304" y="255"/>
                    <a:pt x="1304" y="263"/>
                  </a:cubicBezTo>
                  <a:cubicBezTo>
                    <a:pt x="1304" y="282"/>
                    <a:pt x="1304" y="282"/>
                    <a:pt x="1304" y="282"/>
                  </a:cubicBezTo>
                  <a:cubicBezTo>
                    <a:pt x="1311" y="282"/>
                    <a:pt x="1311" y="282"/>
                    <a:pt x="1311" y="282"/>
                  </a:cubicBezTo>
                  <a:cubicBezTo>
                    <a:pt x="1311" y="341"/>
                    <a:pt x="1311" y="341"/>
                    <a:pt x="1311" y="341"/>
                  </a:cubicBezTo>
                  <a:cubicBezTo>
                    <a:pt x="1321" y="341"/>
                    <a:pt x="1321" y="341"/>
                    <a:pt x="1321" y="341"/>
                  </a:cubicBezTo>
                  <a:cubicBezTo>
                    <a:pt x="1321" y="332"/>
                    <a:pt x="1321" y="332"/>
                    <a:pt x="1321" y="332"/>
                  </a:cubicBezTo>
                  <a:cubicBezTo>
                    <a:pt x="1321" y="322"/>
                    <a:pt x="1329" y="313"/>
                    <a:pt x="1340" y="313"/>
                  </a:cubicBezTo>
                  <a:cubicBezTo>
                    <a:pt x="1347" y="313"/>
                    <a:pt x="1347" y="313"/>
                    <a:pt x="1347" y="313"/>
                  </a:cubicBezTo>
                  <a:close/>
                  <a:moveTo>
                    <a:pt x="1291" y="282"/>
                  </a:moveTo>
                  <a:cubicBezTo>
                    <a:pt x="1291" y="269"/>
                    <a:pt x="1291" y="269"/>
                    <a:pt x="1291" y="269"/>
                  </a:cubicBezTo>
                  <a:cubicBezTo>
                    <a:pt x="1283" y="269"/>
                    <a:pt x="1283" y="269"/>
                    <a:pt x="1283" y="269"/>
                  </a:cubicBezTo>
                  <a:cubicBezTo>
                    <a:pt x="1280" y="269"/>
                    <a:pt x="1277" y="272"/>
                    <a:pt x="1277" y="275"/>
                  </a:cubicBezTo>
                  <a:cubicBezTo>
                    <a:pt x="1277" y="282"/>
                    <a:pt x="1277" y="282"/>
                    <a:pt x="1277" y="282"/>
                  </a:cubicBezTo>
                  <a:cubicBezTo>
                    <a:pt x="1291" y="282"/>
                    <a:pt x="1291" y="282"/>
                    <a:pt x="1291" y="282"/>
                  </a:cubicBezTo>
                  <a:close/>
                  <a:moveTo>
                    <a:pt x="2792" y="314"/>
                  </a:moveTo>
                  <a:cubicBezTo>
                    <a:pt x="2792" y="301"/>
                    <a:pt x="2792" y="301"/>
                    <a:pt x="2792" y="301"/>
                  </a:cubicBezTo>
                  <a:cubicBezTo>
                    <a:pt x="2777" y="307"/>
                    <a:pt x="2777" y="307"/>
                    <a:pt x="2777" y="307"/>
                  </a:cubicBezTo>
                  <a:cubicBezTo>
                    <a:pt x="2777" y="307"/>
                    <a:pt x="2777" y="307"/>
                    <a:pt x="2777" y="307"/>
                  </a:cubicBezTo>
                  <a:cubicBezTo>
                    <a:pt x="2782" y="309"/>
                    <a:pt x="2787" y="311"/>
                    <a:pt x="2792" y="314"/>
                  </a:cubicBezTo>
                  <a:close/>
                  <a:moveTo>
                    <a:pt x="2792" y="295"/>
                  </a:moveTo>
                  <a:cubicBezTo>
                    <a:pt x="2792" y="290"/>
                    <a:pt x="2792" y="290"/>
                    <a:pt x="2792" y="290"/>
                  </a:cubicBezTo>
                  <a:cubicBezTo>
                    <a:pt x="2762" y="303"/>
                    <a:pt x="2762" y="303"/>
                    <a:pt x="2762" y="303"/>
                  </a:cubicBezTo>
                  <a:cubicBezTo>
                    <a:pt x="2762" y="306"/>
                    <a:pt x="2762" y="306"/>
                    <a:pt x="2762" y="306"/>
                  </a:cubicBezTo>
                  <a:cubicBezTo>
                    <a:pt x="2792" y="295"/>
                    <a:pt x="2792" y="295"/>
                    <a:pt x="2792" y="295"/>
                  </a:cubicBezTo>
                  <a:close/>
                  <a:moveTo>
                    <a:pt x="1222" y="415"/>
                  </a:moveTo>
                  <a:cubicBezTo>
                    <a:pt x="1222" y="389"/>
                    <a:pt x="1222" y="389"/>
                    <a:pt x="1222" y="389"/>
                  </a:cubicBezTo>
                  <a:cubicBezTo>
                    <a:pt x="1211" y="389"/>
                    <a:pt x="1211" y="389"/>
                    <a:pt x="1211" y="389"/>
                  </a:cubicBezTo>
                  <a:cubicBezTo>
                    <a:pt x="1211" y="415"/>
                    <a:pt x="1211" y="415"/>
                    <a:pt x="1211" y="415"/>
                  </a:cubicBezTo>
                  <a:cubicBezTo>
                    <a:pt x="1222" y="415"/>
                    <a:pt x="1222" y="415"/>
                    <a:pt x="1222" y="415"/>
                  </a:cubicBezTo>
                  <a:close/>
                  <a:moveTo>
                    <a:pt x="686" y="303"/>
                  </a:moveTo>
                  <a:cubicBezTo>
                    <a:pt x="688" y="335"/>
                    <a:pt x="688" y="335"/>
                    <a:pt x="688" y="335"/>
                  </a:cubicBezTo>
                  <a:cubicBezTo>
                    <a:pt x="738" y="351"/>
                    <a:pt x="738" y="351"/>
                    <a:pt x="738" y="351"/>
                  </a:cubicBezTo>
                  <a:cubicBezTo>
                    <a:pt x="738" y="353"/>
                    <a:pt x="738" y="353"/>
                    <a:pt x="738" y="353"/>
                  </a:cubicBezTo>
                  <a:cubicBezTo>
                    <a:pt x="756" y="358"/>
                    <a:pt x="756" y="358"/>
                    <a:pt x="756" y="358"/>
                  </a:cubicBezTo>
                  <a:cubicBezTo>
                    <a:pt x="756" y="358"/>
                    <a:pt x="756" y="358"/>
                    <a:pt x="756" y="358"/>
                  </a:cubicBezTo>
                  <a:cubicBezTo>
                    <a:pt x="753" y="357"/>
                    <a:pt x="752" y="357"/>
                    <a:pt x="752" y="356"/>
                  </a:cubicBezTo>
                  <a:cubicBezTo>
                    <a:pt x="752" y="355"/>
                    <a:pt x="752" y="353"/>
                    <a:pt x="752" y="352"/>
                  </a:cubicBezTo>
                  <a:cubicBezTo>
                    <a:pt x="752" y="351"/>
                    <a:pt x="754" y="351"/>
                    <a:pt x="756" y="350"/>
                  </a:cubicBezTo>
                  <a:cubicBezTo>
                    <a:pt x="756" y="346"/>
                    <a:pt x="756" y="346"/>
                    <a:pt x="756" y="346"/>
                  </a:cubicBezTo>
                  <a:cubicBezTo>
                    <a:pt x="756" y="346"/>
                    <a:pt x="756" y="346"/>
                    <a:pt x="756" y="346"/>
                  </a:cubicBezTo>
                  <a:cubicBezTo>
                    <a:pt x="757" y="342"/>
                    <a:pt x="790" y="342"/>
                    <a:pt x="792" y="346"/>
                  </a:cubicBezTo>
                  <a:cubicBezTo>
                    <a:pt x="792" y="346"/>
                    <a:pt x="792" y="346"/>
                    <a:pt x="792" y="346"/>
                  </a:cubicBezTo>
                  <a:cubicBezTo>
                    <a:pt x="792" y="350"/>
                    <a:pt x="792" y="350"/>
                    <a:pt x="792" y="350"/>
                  </a:cubicBezTo>
                  <a:cubicBezTo>
                    <a:pt x="794" y="351"/>
                    <a:pt x="795" y="351"/>
                    <a:pt x="796" y="352"/>
                  </a:cubicBezTo>
                  <a:cubicBezTo>
                    <a:pt x="796" y="353"/>
                    <a:pt x="796" y="355"/>
                    <a:pt x="796" y="356"/>
                  </a:cubicBezTo>
                  <a:cubicBezTo>
                    <a:pt x="796" y="357"/>
                    <a:pt x="794" y="357"/>
                    <a:pt x="792" y="358"/>
                  </a:cubicBezTo>
                  <a:cubicBezTo>
                    <a:pt x="792" y="359"/>
                    <a:pt x="792" y="359"/>
                    <a:pt x="792" y="359"/>
                  </a:cubicBezTo>
                  <a:cubicBezTo>
                    <a:pt x="794" y="360"/>
                    <a:pt x="795" y="360"/>
                    <a:pt x="796" y="361"/>
                  </a:cubicBezTo>
                  <a:cubicBezTo>
                    <a:pt x="796" y="362"/>
                    <a:pt x="796" y="362"/>
                    <a:pt x="796" y="362"/>
                  </a:cubicBezTo>
                  <a:cubicBezTo>
                    <a:pt x="796" y="362"/>
                    <a:pt x="796" y="362"/>
                    <a:pt x="796" y="362"/>
                  </a:cubicBezTo>
                  <a:cubicBezTo>
                    <a:pt x="796" y="358"/>
                    <a:pt x="796" y="358"/>
                    <a:pt x="796" y="358"/>
                  </a:cubicBezTo>
                  <a:cubicBezTo>
                    <a:pt x="796" y="358"/>
                    <a:pt x="796" y="358"/>
                    <a:pt x="796" y="358"/>
                  </a:cubicBezTo>
                  <a:cubicBezTo>
                    <a:pt x="797" y="355"/>
                    <a:pt x="825" y="355"/>
                    <a:pt x="826" y="358"/>
                  </a:cubicBezTo>
                  <a:cubicBezTo>
                    <a:pt x="826" y="358"/>
                    <a:pt x="826" y="358"/>
                    <a:pt x="826" y="358"/>
                  </a:cubicBezTo>
                  <a:cubicBezTo>
                    <a:pt x="826" y="362"/>
                    <a:pt x="826" y="362"/>
                    <a:pt x="826" y="362"/>
                  </a:cubicBezTo>
                  <a:cubicBezTo>
                    <a:pt x="828" y="362"/>
                    <a:pt x="829" y="362"/>
                    <a:pt x="829" y="363"/>
                  </a:cubicBezTo>
                  <a:cubicBezTo>
                    <a:pt x="829" y="364"/>
                    <a:pt x="829" y="365"/>
                    <a:pt x="829" y="366"/>
                  </a:cubicBezTo>
                  <a:cubicBezTo>
                    <a:pt x="829" y="367"/>
                    <a:pt x="828" y="367"/>
                    <a:pt x="826" y="368"/>
                  </a:cubicBezTo>
                  <a:cubicBezTo>
                    <a:pt x="826" y="369"/>
                    <a:pt x="826" y="369"/>
                    <a:pt x="826" y="369"/>
                  </a:cubicBezTo>
                  <a:cubicBezTo>
                    <a:pt x="827" y="369"/>
                    <a:pt x="828" y="369"/>
                    <a:pt x="829" y="370"/>
                  </a:cubicBezTo>
                  <a:cubicBezTo>
                    <a:pt x="829" y="369"/>
                    <a:pt x="829" y="369"/>
                    <a:pt x="829" y="369"/>
                  </a:cubicBezTo>
                  <a:cubicBezTo>
                    <a:pt x="829" y="369"/>
                    <a:pt x="829" y="369"/>
                    <a:pt x="829" y="369"/>
                  </a:cubicBezTo>
                  <a:cubicBezTo>
                    <a:pt x="830" y="366"/>
                    <a:pt x="854" y="366"/>
                    <a:pt x="855" y="369"/>
                  </a:cubicBezTo>
                  <a:cubicBezTo>
                    <a:pt x="855" y="369"/>
                    <a:pt x="855" y="369"/>
                    <a:pt x="855" y="369"/>
                  </a:cubicBezTo>
                  <a:cubicBezTo>
                    <a:pt x="855" y="372"/>
                    <a:pt x="855" y="372"/>
                    <a:pt x="855" y="372"/>
                  </a:cubicBezTo>
                  <a:cubicBezTo>
                    <a:pt x="857" y="372"/>
                    <a:pt x="858" y="372"/>
                    <a:pt x="858" y="373"/>
                  </a:cubicBezTo>
                  <a:cubicBezTo>
                    <a:pt x="858" y="374"/>
                    <a:pt x="858" y="375"/>
                    <a:pt x="858" y="376"/>
                  </a:cubicBezTo>
                  <a:cubicBezTo>
                    <a:pt x="858" y="376"/>
                    <a:pt x="857" y="377"/>
                    <a:pt x="855" y="377"/>
                  </a:cubicBezTo>
                  <a:cubicBezTo>
                    <a:pt x="855" y="378"/>
                    <a:pt x="855" y="378"/>
                    <a:pt x="855" y="378"/>
                  </a:cubicBezTo>
                  <a:cubicBezTo>
                    <a:pt x="857" y="378"/>
                    <a:pt x="858" y="379"/>
                    <a:pt x="858" y="379"/>
                  </a:cubicBezTo>
                  <a:cubicBezTo>
                    <a:pt x="858" y="380"/>
                    <a:pt x="858" y="381"/>
                    <a:pt x="858" y="382"/>
                  </a:cubicBezTo>
                  <a:cubicBezTo>
                    <a:pt x="858" y="383"/>
                    <a:pt x="857" y="383"/>
                    <a:pt x="855" y="384"/>
                  </a:cubicBezTo>
                  <a:cubicBezTo>
                    <a:pt x="855" y="385"/>
                    <a:pt x="855" y="385"/>
                    <a:pt x="855" y="385"/>
                  </a:cubicBezTo>
                  <a:cubicBezTo>
                    <a:pt x="857" y="385"/>
                    <a:pt x="858" y="385"/>
                    <a:pt x="858" y="386"/>
                  </a:cubicBezTo>
                  <a:cubicBezTo>
                    <a:pt x="858" y="387"/>
                    <a:pt x="858" y="388"/>
                    <a:pt x="858" y="389"/>
                  </a:cubicBezTo>
                  <a:cubicBezTo>
                    <a:pt x="858" y="389"/>
                    <a:pt x="857" y="390"/>
                    <a:pt x="855" y="390"/>
                  </a:cubicBezTo>
                  <a:cubicBezTo>
                    <a:pt x="855" y="402"/>
                    <a:pt x="855" y="402"/>
                    <a:pt x="855" y="402"/>
                  </a:cubicBezTo>
                  <a:cubicBezTo>
                    <a:pt x="877" y="401"/>
                    <a:pt x="877" y="401"/>
                    <a:pt x="877" y="401"/>
                  </a:cubicBezTo>
                  <a:cubicBezTo>
                    <a:pt x="877" y="367"/>
                    <a:pt x="877" y="367"/>
                    <a:pt x="877" y="367"/>
                  </a:cubicBezTo>
                  <a:cubicBezTo>
                    <a:pt x="882" y="363"/>
                    <a:pt x="882" y="363"/>
                    <a:pt x="882" y="363"/>
                  </a:cubicBezTo>
                  <a:cubicBezTo>
                    <a:pt x="686" y="303"/>
                    <a:pt x="686" y="303"/>
                    <a:pt x="686" y="303"/>
                  </a:cubicBezTo>
                  <a:close/>
                  <a:moveTo>
                    <a:pt x="1211" y="381"/>
                  </a:moveTo>
                  <a:cubicBezTo>
                    <a:pt x="1211" y="386"/>
                    <a:pt x="1211" y="386"/>
                    <a:pt x="1211" y="386"/>
                  </a:cubicBezTo>
                  <a:cubicBezTo>
                    <a:pt x="1264" y="386"/>
                    <a:pt x="1264" y="386"/>
                    <a:pt x="1264" y="386"/>
                  </a:cubicBezTo>
                  <a:cubicBezTo>
                    <a:pt x="1264" y="383"/>
                    <a:pt x="1264" y="383"/>
                    <a:pt x="1264" y="383"/>
                  </a:cubicBezTo>
                  <a:cubicBezTo>
                    <a:pt x="1264" y="381"/>
                    <a:pt x="1264" y="381"/>
                    <a:pt x="1264" y="381"/>
                  </a:cubicBezTo>
                  <a:cubicBezTo>
                    <a:pt x="1211" y="381"/>
                    <a:pt x="1211" y="381"/>
                    <a:pt x="1211" y="381"/>
                  </a:cubicBezTo>
                  <a:close/>
                  <a:moveTo>
                    <a:pt x="558" y="296"/>
                  </a:moveTo>
                  <a:cubicBezTo>
                    <a:pt x="558" y="296"/>
                    <a:pt x="558" y="296"/>
                    <a:pt x="558" y="296"/>
                  </a:cubicBezTo>
                  <a:close/>
                  <a:moveTo>
                    <a:pt x="577" y="307"/>
                  </a:moveTo>
                  <a:cubicBezTo>
                    <a:pt x="577" y="307"/>
                    <a:pt x="577" y="307"/>
                    <a:pt x="577" y="307"/>
                  </a:cubicBezTo>
                  <a:close/>
                  <a:moveTo>
                    <a:pt x="752" y="364"/>
                  </a:moveTo>
                  <a:cubicBezTo>
                    <a:pt x="752" y="364"/>
                    <a:pt x="752" y="364"/>
                    <a:pt x="752" y="364"/>
                  </a:cubicBezTo>
                  <a:close/>
                  <a:moveTo>
                    <a:pt x="628" y="257"/>
                  </a:moveTo>
                  <a:cubicBezTo>
                    <a:pt x="628" y="257"/>
                    <a:pt x="628" y="257"/>
                    <a:pt x="628" y="257"/>
                  </a:cubicBezTo>
                  <a:close/>
                  <a:moveTo>
                    <a:pt x="752" y="374"/>
                  </a:moveTo>
                  <a:cubicBezTo>
                    <a:pt x="738" y="377"/>
                    <a:pt x="738" y="377"/>
                    <a:pt x="738" y="377"/>
                  </a:cubicBezTo>
                  <a:cubicBezTo>
                    <a:pt x="738" y="390"/>
                    <a:pt x="738" y="390"/>
                    <a:pt x="738" y="390"/>
                  </a:cubicBezTo>
                  <a:cubicBezTo>
                    <a:pt x="756" y="388"/>
                    <a:pt x="756" y="388"/>
                    <a:pt x="756" y="388"/>
                  </a:cubicBezTo>
                  <a:cubicBezTo>
                    <a:pt x="756" y="376"/>
                    <a:pt x="756" y="376"/>
                    <a:pt x="756" y="376"/>
                  </a:cubicBezTo>
                  <a:cubicBezTo>
                    <a:pt x="754" y="375"/>
                    <a:pt x="753" y="375"/>
                    <a:pt x="752" y="374"/>
                  </a:cubicBezTo>
                  <a:close/>
                  <a:moveTo>
                    <a:pt x="829" y="402"/>
                  </a:moveTo>
                  <a:cubicBezTo>
                    <a:pt x="829" y="390"/>
                    <a:pt x="829" y="390"/>
                    <a:pt x="829" y="390"/>
                  </a:cubicBezTo>
                  <a:cubicBezTo>
                    <a:pt x="827" y="390"/>
                    <a:pt x="827" y="389"/>
                    <a:pt x="827" y="389"/>
                  </a:cubicBezTo>
                  <a:cubicBezTo>
                    <a:pt x="827" y="386"/>
                    <a:pt x="826" y="385"/>
                    <a:pt x="829" y="385"/>
                  </a:cubicBezTo>
                  <a:cubicBezTo>
                    <a:pt x="829" y="383"/>
                    <a:pt x="829" y="383"/>
                    <a:pt x="829" y="383"/>
                  </a:cubicBezTo>
                  <a:cubicBezTo>
                    <a:pt x="828" y="383"/>
                    <a:pt x="827" y="383"/>
                    <a:pt x="827" y="382"/>
                  </a:cubicBezTo>
                  <a:cubicBezTo>
                    <a:pt x="826" y="383"/>
                    <a:pt x="826" y="383"/>
                    <a:pt x="826" y="383"/>
                  </a:cubicBezTo>
                  <a:cubicBezTo>
                    <a:pt x="826" y="402"/>
                    <a:pt x="826" y="402"/>
                    <a:pt x="826" y="402"/>
                  </a:cubicBezTo>
                  <a:cubicBezTo>
                    <a:pt x="829" y="402"/>
                    <a:pt x="829" y="402"/>
                    <a:pt x="829" y="402"/>
                  </a:cubicBezTo>
                  <a:close/>
                  <a:moveTo>
                    <a:pt x="796" y="384"/>
                  </a:moveTo>
                  <a:cubicBezTo>
                    <a:pt x="796" y="382"/>
                    <a:pt x="796" y="382"/>
                    <a:pt x="796" y="382"/>
                  </a:cubicBezTo>
                  <a:cubicBezTo>
                    <a:pt x="795" y="382"/>
                    <a:pt x="794" y="382"/>
                    <a:pt x="794" y="381"/>
                  </a:cubicBezTo>
                  <a:cubicBezTo>
                    <a:pt x="794" y="378"/>
                    <a:pt x="793" y="377"/>
                    <a:pt x="796" y="376"/>
                  </a:cubicBezTo>
                  <a:cubicBezTo>
                    <a:pt x="796" y="375"/>
                    <a:pt x="796" y="375"/>
                    <a:pt x="796" y="375"/>
                  </a:cubicBezTo>
                  <a:cubicBezTo>
                    <a:pt x="796" y="375"/>
                    <a:pt x="796" y="375"/>
                    <a:pt x="795" y="375"/>
                  </a:cubicBezTo>
                  <a:cubicBezTo>
                    <a:pt x="795" y="375"/>
                    <a:pt x="793" y="376"/>
                    <a:pt x="792" y="376"/>
                  </a:cubicBezTo>
                  <a:cubicBezTo>
                    <a:pt x="792" y="384"/>
                    <a:pt x="792" y="384"/>
                    <a:pt x="792" y="384"/>
                  </a:cubicBezTo>
                  <a:cubicBezTo>
                    <a:pt x="794" y="383"/>
                    <a:pt x="794" y="384"/>
                    <a:pt x="796" y="384"/>
                  </a:cubicBezTo>
                  <a:close/>
                  <a:moveTo>
                    <a:pt x="647" y="323"/>
                  </a:moveTo>
                  <a:cubicBezTo>
                    <a:pt x="666" y="329"/>
                    <a:pt x="666" y="329"/>
                    <a:pt x="666" y="329"/>
                  </a:cubicBezTo>
                  <a:cubicBezTo>
                    <a:pt x="666" y="316"/>
                    <a:pt x="666" y="316"/>
                    <a:pt x="666" y="316"/>
                  </a:cubicBezTo>
                  <a:cubicBezTo>
                    <a:pt x="647" y="323"/>
                    <a:pt x="647" y="323"/>
                    <a:pt x="647" y="323"/>
                  </a:cubicBezTo>
                  <a:close/>
                  <a:moveTo>
                    <a:pt x="582" y="346"/>
                  </a:moveTo>
                  <a:cubicBezTo>
                    <a:pt x="605" y="338"/>
                    <a:pt x="605" y="338"/>
                    <a:pt x="605" y="338"/>
                  </a:cubicBezTo>
                  <a:cubicBezTo>
                    <a:pt x="605" y="337"/>
                    <a:pt x="605" y="337"/>
                    <a:pt x="605" y="337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6"/>
                    <a:pt x="582" y="346"/>
                    <a:pt x="582" y="346"/>
                  </a:cubicBezTo>
                  <a:close/>
                  <a:moveTo>
                    <a:pt x="666" y="310"/>
                  </a:moveTo>
                  <a:cubicBezTo>
                    <a:pt x="667" y="306"/>
                    <a:pt x="667" y="306"/>
                    <a:pt x="667" y="306"/>
                  </a:cubicBezTo>
                  <a:cubicBezTo>
                    <a:pt x="630" y="320"/>
                    <a:pt x="630" y="320"/>
                    <a:pt x="630" y="320"/>
                  </a:cubicBezTo>
                  <a:cubicBezTo>
                    <a:pt x="630" y="323"/>
                    <a:pt x="630" y="323"/>
                    <a:pt x="630" y="323"/>
                  </a:cubicBezTo>
                  <a:cubicBezTo>
                    <a:pt x="642" y="318"/>
                    <a:pt x="654" y="314"/>
                    <a:pt x="666" y="310"/>
                  </a:cubicBezTo>
                  <a:close/>
                  <a:moveTo>
                    <a:pt x="605" y="331"/>
                  </a:moveTo>
                  <a:cubicBezTo>
                    <a:pt x="605" y="329"/>
                    <a:pt x="605" y="329"/>
                    <a:pt x="605" y="329"/>
                  </a:cubicBezTo>
                  <a:cubicBezTo>
                    <a:pt x="582" y="338"/>
                    <a:pt x="582" y="338"/>
                    <a:pt x="582" y="338"/>
                  </a:cubicBezTo>
                  <a:cubicBezTo>
                    <a:pt x="582" y="340"/>
                    <a:pt x="582" y="340"/>
                    <a:pt x="582" y="340"/>
                  </a:cubicBezTo>
                  <a:cubicBezTo>
                    <a:pt x="590" y="337"/>
                    <a:pt x="597" y="334"/>
                    <a:pt x="605" y="331"/>
                  </a:cubicBezTo>
                  <a:close/>
                  <a:moveTo>
                    <a:pt x="792" y="368"/>
                  </a:moveTo>
                  <a:cubicBezTo>
                    <a:pt x="796" y="369"/>
                    <a:pt x="793" y="370"/>
                    <a:pt x="796" y="369"/>
                  </a:cubicBezTo>
                  <a:cubicBezTo>
                    <a:pt x="796" y="368"/>
                    <a:pt x="796" y="368"/>
                    <a:pt x="796" y="368"/>
                  </a:cubicBezTo>
                  <a:cubicBezTo>
                    <a:pt x="795" y="367"/>
                    <a:pt x="794" y="367"/>
                    <a:pt x="794" y="366"/>
                  </a:cubicBezTo>
                  <a:cubicBezTo>
                    <a:pt x="793" y="366"/>
                    <a:pt x="792" y="367"/>
                    <a:pt x="792" y="367"/>
                  </a:cubicBezTo>
                  <a:cubicBezTo>
                    <a:pt x="792" y="368"/>
                    <a:pt x="792" y="368"/>
                    <a:pt x="792" y="368"/>
                  </a:cubicBezTo>
                  <a:close/>
                  <a:moveTo>
                    <a:pt x="826" y="376"/>
                  </a:moveTo>
                  <a:cubicBezTo>
                    <a:pt x="827" y="377"/>
                    <a:pt x="828" y="377"/>
                    <a:pt x="829" y="377"/>
                  </a:cubicBezTo>
                  <a:cubicBezTo>
                    <a:pt x="829" y="377"/>
                    <a:pt x="829" y="377"/>
                    <a:pt x="829" y="377"/>
                  </a:cubicBezTo>
                  <a:cubicBezTo>
                    <a:pt x="827" y="376"/>
                    <a:pt x="827" y="376"/>
                    <a:pt x="827" y="375"/>
                  </a:cubicBezTo>
                  <a:cubicBezTo>
                    <a:pt x="826" y="375"/>
                    <a:pt x="826" y="375"/>
                    <a:pt x="826" y="375"/>
                  </a:cubicBezTo>
                  <a:cubicBezTo>
                    <a:pt x="826" y="376"/>
                    <a:pt x="826" y="376"/>
                    <a:pt x="826" y="376"/>
                  </a:cubicBezTo>
                  <a:close/>
                  <a:moveTo>
                    <a:pt x="227" y="206"/>
                  </a:moveTo>
                  <a:cubicBezTo>
                    <a:pt x="227" y="206"/>
                    <a:pt x="227" y="206"/>
                    <a:pt x="227" y="206"/>
                  </a:cubicBezTo>
                  <a:close/>
                  <a:moveTo>
                    <a:pt x="197" y="224"/>
                  </a:moveTo>
                  <a:cubicBezTo>
                    <a:pt x="197" y="224"/>
                    <a:pt x="197" y="224"/>
                    <a:pt x="197" y="224"/>
                  </a:cubicBezTo>
                  <a:close/>
                  <a:moveTo>
                    <a:pt x="116" y="144"/>
                  </a:moveTo>
                  <a:cubicBezTo>
                    <a:pt x="116" y="144"/>
                    <a:pt x="116" y="144"/>
                    <a:pt x="116" y="144"/>
                  </a:cubicBezTo>
                  <a:close/>
                  <a:moveTo>
                    <a:pt x="86" y="249"/>
                  </a:moveTo>
                  <a:cubicBezTo>
                    <a:pt x="54" y="239"/>
                    <a:pt x="54" y="239"/>
                    <a:pt x="54" y="239"/>
                  </a:cubicBezTo>
                  <a:cubicBezTo>
                    <a:pt x="55" y="259"/>
                    <a:pt x="55" y="259"/>
                    <a:pt x="55" y="259"/>
                  </a:cubicBezTo>
                  <a:cubicBezTo>
                    <a:pt x="86" y="249"/>
                    <a:pt x="86" y="249"/>
                    <a:pt x="86" y="249"/>
                  </a:cubicBezTo>
                  <a:close/>
                  <a:moveTo>
                    <a:pt x="190" y="287"/>
                  </a:moveTo>
                  <a:cubicBezTo>
                    <a:pt x="190" y="284"/>
                    <a:pt x="190" y="284"/>
                    <a:pt x="190" y="284"/>
                  </a:cubicBezTo>
                  <a:cubicBezTo>
                    <a:pt x="152" y="271"/>
                    <a:pt x="152" y="271"/>
                    <a:pt x="152" y="271"/>
                  </a:cubicBezTo>
                  <a:cubicBezTo>
                    <a:pt x="153" y="273"/>
                    <a:pt x="153" y="273"/>
                    <a:pt x="153" y="273"/>
                  </a:cubicBezTo>
                  <a:cubicBezTo>
                    <a:pt x="190" y="287"/>
                    <a:pt x="190" y="287"/>
                    <a:pt x="190" y="287"/>
                  </a:cubicBezTo>
                  <a:close/>
                  <a:moveTo>
                    <a:pt x="54" y="228"/>
                  </a:moveTo>
                  <a:cubicBezTo>
                    <a:pt x="74" y="236"/>
                    <a:pt x="93" y="242"/>
                    <a:pt x="112" y="249"/>
                  </a:cubicBezTo>
                  <a:cubicBezTo>
                    <a:pt x="113" y="245"/>
                    <a:pt x="113" y="245"/>
                    <a:pt x="113" y="245"/>
                  </a:cubicBezTo>
                  <a:cubicBezTo>
                    <a:pt x="54" y="223"/>
                    <a:pt x="54" y="223"/>
                    <a:pt x="54" y="223"/>
                  </a:cubicBezTo>
                  <a:cubicBezTo>
                    <a:pt x="54" y="228"/>
                    <a:pt x="54" y="228"/>
                    <a:pt x="54" y="228"/>
                  </a:cubicBezTo>
                  <a:close/>
                  <a:moveTo>
                    <a:pt x="152" y="263"/>
                  </a:moveTo>
                  <a:cubicBezTo>
                    <a:pt x="165" y="267"/>
                    <a:pt x="177" y="272"/>
                    <a:pt x="190" y="277"/>
                  </a:cubicBezTo>
                  <a:cubicBezTo>
                    <a:pt x="190" y="273"/>
                    <a:pt x="190" y="273"/>
                    <a:pt x="190" y="273"/>
                  </a:cubicBezTo>
                  <a:cubicBezTo>
                    <a:pt x="152" y="259"/>
                    <a:pt x="152" y="259"/>
                    <a:pt x="152" y="259"/>
                  </a:cubicBezTo>
                  <a:cubicBezTo>
                    <a:pt x="152" y="263"/>
                    <a:pt x="152" y="263"/>
                    <a:pt x="152" y="263"/>
                  </a:cubicBezTo>
                  <a:close/>
                  <a:moveTo>
                    <a:pt x="2699" y="273"/>
                  </a:moveTo>
                  <a:cubicBezTo>
                    <a:pt x="2699" y="273"/>
                    <a:pt x="2699" y="273"/>
                    <a:pt x="2699" y="273"/>
                  </a:cubicBezTo>
                  <a:cubicBezTo>
                    <a:pt x="2705" y="278"/>
                    <a:pt x="2710" y="282"/>
                    <a:pt x="2716" y="286"/>
                  </a:cubicBezTo>
                  <a:cubicBezTo>
                    <a:pt x="2710" y="282"/>
                    <a:pt x="2705" y="278"/>
                    <a:pt x="2699" y="273"/>
                  </a:cubicBezTo>
                  <a:close/>
                  <a:moveTo>
                    <a:pt x="2719" y="332"/>
                  </a:moveTo>
                  <a:cubicBezTo>
                    <a:pt x="2719" y="332"/>
                    <a:pt x="2719" y="332"/>
                    <a:pt x="2719" y="332"/>
                  </a:cubicBezTo>
                  <a:cubicBezTo>
                    <a:pt x="2726" y="329"/>
                    <a:pt x="2733" y="326"/>
                    <a:pt x="2740" y="323"/>
                  </a:cubicBezTo>
                  <a:cubicBezTo>
                    <a:pt x="2740" y="322"/>
                    <a:pt x="2740" y="322"/>
                    <a:pt x="2740" y="322"/>
                  </a:cubicBezTo>
                  <a:cubicBezTo>
                    <a:pt x="2733" y="324"/>
                    <a:pt x="2726" y="327"/>
                    <a:pt x="2719" y="330"/>
                  </a:cubicBezTo>
                  <a:cubicBezTo>
                    <a:pt x="2719" y="330"/>
                    <a:pt x="2719" y="331"/>
                    <a:pt x="2719" y="332"/>
                  </a:cubicBezTo>
                  <a:close/>
                  <a:moveTo>
                    <a:pt x="2740" y="315"/>
                  </a:moveTo>
                  <a:cubicBezTo>
                    <a:pt x="2740" y="315"/>
                    <a:pt x="2740" y="315"/>
                    <a:pt x="2740" y="315"/>
                  </a:cubicBezTo>
                  <a:cubicBezTo>
                    <a:pt x="2740" y="315"/>
                    <a:pt x="2740" y="314"/>
                    <a:pt x="2740" y="313"/>
                  </a:cubicBezTo>
                  <a:cubicBezTo>
                    <a:pt x="2733" y="316"/>
                    <a:pt x="2727" y="319"/>
                    <a:pt x="2719" y="322"/>
                  </a:cubicBezTo>
                  <a:cubicBezTo>
                    <a:pt x="2719" y="323"/>
                    <a:pt x="2719" y="324"/>
                    <a:pt x="2719" y="325"/>
                  </a:cubicBezTo>
                  <a:cubicBezTo>
                    <a:pt x="2727" y="321"/>
                    <a:pt x="2733" y="318"/>
                    <a:pt x="2740" y="315"/>
                  </a:cubicBezTo>
                  <a:close/>
                  <a:moveTo>
                    <a:pt x="1858" y="348"/>
                  </a:moveTo>
                  <a:cubicBezTo>
                    <a:pt x="1858" y="348"/>
                    <a:pt x="1858" y="348"/>
                    <a:pt x="1858" y="348"/>
                  </a:cubicBezTo>
                  <a:cubicBezTo>
                    <a:pt x="1861" y="348"/>
                    <a:pt x="1863" y="347"/>
                    <a:pt x="1865" y="347"/>
                  </a:cubicBezTo>
                  <a:cubicBezTo>
                    <a:pt x="1865" y="333"/>
                    <a:pt x="1865" y="319"/>
                    <a:pt x="1865" y="304"/>
                  </a:cubicBezTo>
                  <a:cubicBezTo>
                    <a:pt x="1865" y="304"/>
                    <a:pt x="1864" y="304"/>
                    <a:pt x="1864" y="304"/>
                  </a:cubicBezTo>
                  <a:cubicBezTo>
                    <a:pt x="1863" y="305"/>
                    <a:pt x="1861" y="305"/>
                    <a:pt x="1859" y="306"/>
                  </a:cubicBezTo>
                  <a:cubicBezTo>
                    <a:pt x="1859" y="307"/>
                    <a:pt x="1859" y="308"/>
                    <a:pt x="1859" y="309"/>
                  </a:cubicBezTo>
                  <a:cubicBezTo>
                    <a:pt x="1866" y="311"/>
                    <a:pt x="1867" y="319"/>
                    <a:pt x="1858" y="321"/>
                  </a:cubicBezTo>
                  <a:cubicBezTo>
                    <a:pt x="1858" y="330"/>
                    <a:pt x="1858" y="339"/>
                    <a:pt x="1858" y="348"/>
                  </a:cubicBezTo>
                  <a:close/>
                  <a:moveTo>
                    <a:pt x="1927" y="310"/>
                  </a:moveTo>
                  <a:cubicBezTo>
                    <a:pt x="1927" y="310"/>
                    <a:pt x="1927" y="310"/>
                    <a:pt x="1927" y="310"/>
                  </a:cubicBezTo>
                  <a:cubicBezTo>
                    <a:pt x="1933" y="309"/>
                    <a:pt x="1932" y="308"/>
                    <a:pt x="1937" y="309"/>
                  </a:cubicBezTo>
                  <a:cubicBezTo>
                    <a:pt x="1937" y="303"/>
                    <a:pt x="1937" y="298"/>
                    <a:pt x="1937" y="292"/>
                  </a:cubicBezTo>
                  <a:cubicBezTo>
                    <a:pt x="1934" y="291"/>
                    <a:pt x="1931" y="290"/>
                    <a:pt x="1930" y="289"/>
                  </a:cubicBezTo>
                  <a:cubicBezTo>
                    <a:pt x="1929" y="289"/>
                    <a:pt x="1929" y="289"/>
                    <a:pt x="1928" y="289"/>
                  </a:cubicBezTo>
                  <a:cubicBezTo>
                    <a:pt x="1927" y="290"/>
                    <a:pt x="1927" y="291"/>
                    <a:pt x="1927" y="292"/>
                  </a:cubicBezTo>
                  <a:cubicBezTo>
                    <a:pt x="1935" y="295"/>
                    <a:pt x="1934" y="295"/>
                    <a:pt x="1934" y="303"/>
                  </a:cubicBezTo>
                  <a:cubicBezTo>
                    <a:pt x="1934" y="304"/>
                    <a:pt x="1931" y="305"/>
                    <a:pt x="1927" y="306"/>
                  </a:cubicBezTo>
                  <a:cubicBezTo>
                    <a:pt x="1927" y="307"/>
                    <a:pt x="1927" y="308"/>
                    <a:pt x="1927" y="310"/>
                  </a:cubicBezTo>
                  <a:close/>
                  <a:moveTo>
                    <a:pt x="2222" y="190"/>
                  </a:moveTo>
                  <a:cubicBezTo>
                    <a:pt x="2186" y="175"/>
                    <a:pt x="2186" y="175"/>
                    <a:pt x="2186" y="175"/>
                  </a:cubicBezTo>
                  <a:cubicBezTo>
                    <a:pt x="2187" y="183"/>
                    <a:pt x="2187" y="192"/>
                    <a:pt x="2187" y="201"/>
                  </a:cubicBezTo>
                  <a:cubicBezTo>
                    <a:pt x="2199" y="197"/>
                    <a:pt x="2210" y="194"/>
                    <a:pt x="2222" y="190"/>
                  </a:cubicBezTo>
                  <a:close/>
                  <a:moveTo>
                    <a:pt x="2337" y="245"/>
                  </a:moveTo>
                  <a:cubicBezTo>
                    <a:pt x="2337" y="245"/>
                    <a:pt x="2337" y="245"/>
                    <a:pt x="2337" y="245"/>
                  </a:cubicBezTo>
                  <a:cubicBezTo>
                    <a:pt x="2337" y="244"/>
                    <a:pt x="2337" y="243"/>
                    <a:pt x="2337" y="241"/>
                  </a:cubicBezTo>
                  <a:cubicBezTo>
                    <a:pt x="2324" y="235"/>
                    <a:pt x="2310" y="229"/>
                    <a:pt x="2296" y="223"/>
                  </a:cubicBezTo>
                  <a:cubicBezTo>
                    <a:pt x="2296" y="224"/>
                    <a:pt x="2296" y="225"/>
                    <a:pt x="2296" y="225"/>
                  </a:cubicBezTo>
                  <a:cubicBezTo>
                    <a:pt x="2310" y="232"/>
                    <a:pt x="2324" y="239"/>
                    <a:pt x="2337" y="245"/>
                  </a:cubicBezTo>
                  <a:close/>
                  <a:moveTo>
                    <a:pt x="2186" y="160"/>
                  </a:moveTo>
                  <a:cubicBezTo>
                    <a:pt x="2186" y="160"/>
                    <a:pt x="2186" y="160"/>
                    <a:pt x="2186" y="160"/>
                  </a:cubicBezTo>
                  <a:cubicBezTo>
                    <a:pt x="2209" y="172"/>
                    <a:pt x="2230" y="182"/>
                    <a:pt x="2253" y="192"/>
                  </a:cubicBezTo>
                  <a:cubicBezTo>
                    <a:pt x="2253" y="190"/>
                    <a:pt x="2253" y="188"/>
                    <a:pt x="2253" y="186"/>
                  </a:cubicBezTo>
                  <a:cubicBezTo>
                    <a:pt x="2231" y="175"/>
                    <a:pt x="2209" y="164"/>
                    <a:pt x="2186" y="153"/>
                  </a:cubicBezTo>
                  <a:cubicBezTo>
                    <a:pt x="2186" y="156"/>
                    <a:pt x="2186" y="158"/>
                    <a:pt x="2186" y="160"/>
                  </a:cubicBezTo>
                  <a:close/>
                  <a:moveTo>
                    <a:pt x="2296" y="212"/>
                  </a:moveTo>
                  <a:cubicBezTo>
                    <a:pt x="2296" y="212"/>
                    <a:pt x="2296" y="212"/>
                    <a:pt x="2296" y="212"/>
                  </a:cubicBezTo>
                  <a:cubicBezTo>
                    <a:pt x="2310" y="219"/>
                    <a:pt x="2323" y="225"/>
                    <a:pt x="2337" y="232"/>
                  </a:cubicBezTo>
                  <a:cubicBezTo>
                    <a:pt x="2337" y="231"/>
                    <a:pt x="2337" y="229"/>
                    <a:pt x="2337" y="228"/>
                  </a:cubicBezTo>
                  <a:cubicBezTo>
                    <a:pt x="2324" y="221"/>
                    <a:pt x="2310" y="215"/>
                    <a:pt x="2296" y="208"/>
                  </a:cubicBezTo>
                  <a:cubicBezTo>
                    <a:pt x="2296" y="209"/>
                    <a:pt x="2296" y="211"/>
                    <a:pt x="2296" y="212"/>
                  </a:cubicBezTo>
                  <a:close/>
                  <a:moveTo>
                    <a:pt x="1938" y="275"/>
                  </a:moveTo>
                  <a:cubicBezTo>
                    <a:pt x="1938" y="275"/>
                    <a:pt x="1938" y="275"/>
                    <a:pt x="1938" y="275"/>
                  </a:cubicBezTo>
                  <a:cubicBezTo>
                    <a:pt x="1938" y="274"/>
                    <a:pt x="1938" y="273"/>
                    <a:pt x="1938" y="271"/>
                  </a:cubicBezTo>
                  <a:cubicBezTo>
                    <a:pt x="1936" y="271"/>
                    <a:pt x="1935" y="271"/>
                    <a:pt x="1934" y="270"/>
                  </a:cubicBezTo>
                  <a:cubicBezTo>
                    <a:pt x="1934" y="271"/>
                    <a:pt x="1931" y="272"/>
                    <a:pt x="1928" y="273"/>
                  </a:cubicBezTo>
                  <a:cubicBezTo>
                    <a:pt x="1928" y="274"/>
                    <a:pt x="1928" y="275"/>
                    <a:pt x="1928" y="276"/>
                  </a:cubicBezTo>
                  <a:cubicBezTo>
                    <a:pt x="1934" y="278"/>
                    <a:pt x="1928" y="277"/>
                    <a:pt x="1938" y="275"/>
                  </a:cubicBezTo>
                  <a:close/>
                  <a:moveTo>
                    <a:pt x="1865" y="290"/>
                  </a:moveTo>
                  <a:cubicBezTo>
                    <a:pt x="1865" y="290"/>
                    <a:pt x="1865" y="290"/>
                    <a:pt x="1865" y="290"/>
                  </a:cubicBezTo>
                  <a:cubicBezTo>
                    <a:pt x="1865" y="289"/>
                    <a:pt x="1865" y="288"/>
                    <a:pt x="1865" y="287"/>
                  </a:cubicBezTo>
                  <a:cubicBezTo>
                    <a:pt x="1865" y="287"/>
                    <a:pt x="1864" y="287"/>
                    <a:pt x="1864" y="287"/>
                  </a:cubicBezTo>
                  <a:cubicBezTo>
                    <a:pt x="1864" y="290"/>
                    <a:pt x="1864" y="291"/>
                    <a:pt x="1859" y="291"/>
                  </a:cubicBezTo>
                  <a:cubicBezTo>
                    <a:pt x="1859" y="292"/>
                    <a:pt x="1859" y="292"/>
                    <a:pt x="1859" y="292"/>
                  </a:cubicBezTo>
                  <a:cubicBezTo>
                    <a:pt x="1860" y="292"/>
                    <a:pt x="1862" y="291"/>
                    <a:pt x="1865" y="290"/>
                  </a:cubicBezTo>
                  <a:close/>
                </a:path>
              </a:pathLst>
            </a:custGeom>
            <a:solidFill>
              <a:schemeClr val="accent4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169F9FC-D078-4C47-A5E8-4AE7AF763FA3}"/>
              </a:ext>
            </a:extLst>
          </p:cNvPr>
          <p:cNvSpPr/>
          <p:nvPr userDrawn="1"/>
        </p:nvSpPr>
        <p:spPr>
          <a:xfrm>
            <a:off x="-1" y="3043271"/>
            <a:ext cx="9144000" cy="2100231"/>
          </a:xfrm>
          <a:prstGeom prst="rect">
            <a:avLst/>
          </a:prstGeom>
          <a:gradFill>
            <a:gsLst>
              <a:gs pos="0">
                <a:schemeClr val="accent2">
                  <a:alpha val="67000"/>
                </a:schemeClr>
              </a:gs>
              <a:gs pos="100000">
                <a:schemeClr val="accent2">
                  <a:alpha val="78000"/>
                </a:schemeClr>
              </a:gs>
            </a:gsLst>
            <a:lin ang="162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330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24A995-9D5E-4772-92F1-365DD6316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704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22DF5-C606-4F09-9EBA-6418DF521847}" type="datetime1">
              <a:rPr lang="ru-RU" smtClean="0"/>
              <a:t>08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548640"/>
            <a:ext cx="6400800" cy="26060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2900190"/>
            <a:ext cx="9144000" cy="224331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290019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1989233"/>
            <a:ext cx="9144000" cy="1714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200150"/>
            <a:ext cx="9144000" cy="382905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1629487"/>
            <a:ext cx="5966666" cy="1817510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3455633"/>
            <a:ext cx="5970494" cy="626595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7FFB8F-FB50-44BC-8417-9D53063853AE}" type="datetime1">
              <a:rPr lang="ru-RU" smtClean="0"/>
              <a:t>08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8018-05EE-4C7D-8CEB-E25DA5176EE3}" type="datetime1">
              <a:rPr lang="ru-RU" smtClean="0"/>
              <a:t>08.04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548639"/>
            <a:ext cx="3346704" cy="26060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548640"/>
            <a:ext cx="3346704" cy="26060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548641"/>
            <a:ext cx="3346704" cy="47982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050245"/>
            <a:ext cx="3346704" cy="2057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548641"/>
            <a:ext cx="3346704" cy="47982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049274"/>
            <a:ext cx="3346704" cy="2057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6484A-5E24-4A62-B3DD-3ED64066F56B}" type="datetime1">
              <a:rPr lang="ru-RU" smtClean="0"/>
              <a:t>08.04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10E56E-1B05-43D8-89FF-618B7684C10F}" type="datetime1">
              <a:rPr lang="ru-RU" smtClean="0"/>
              <a:t>08.04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4A657-734B-42A4-BFFE-D96837FAF87E}" type="datetime1">
              <a:rPr lang="ru-RU" smtClean="0"/>
              <a:t>08.04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1657350"/>
            <a:ext cx="3636085" cy="943870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24" y="548641"/>
            <a:ext cx="4017085" cy="3671048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2623353"/>
            <a:ext cx="3388660" cy="160463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20ED18-0DBC-486E-92D8-5920FE7D4AB8}" type="datetime1">
              <a:rPr lang="ru-RU" smtClean="0"/>
              <a:t>08.04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900190"/>
            <a:ext cx="9144000" cy="224331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290019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1989233"/>
            <a:ext cx="9144000" cy="1714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200150"/>
            <a:ext cx="9144000" cy="382905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857254"/>
            <a:ext cx="4114800" cy="2345855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757864"/>
            <a:ext cx="3694114" cy="1622265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C4D35-4202-490E-B34D-70F3437569B9}" type="datetime1">
              <a:rPr lang="ru-RU" smtClean="0"/>
              <a:t>08.04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3348316"/>
            <a:ext cx="6383538" cy="85725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image" Target="../media/image2.emf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2.v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92524483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Слайд think-cell" r:id="rId16" imgW="306" imgH="306" progId="TCLayout.ActiveDocument.1">
                  <p:embed/>
                </p:oleObj>
              </mc:Choice>
              <mc:Fallback>
                <p:oleObj name="Слайд think-cell" r:id="rId16" imgW="306" imgH="306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3829050"/>
            <a:ext cx="9144000" cy="131445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2905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826228"/>
            <a:ext cx="9144000" cy="1714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200150"/>
            <a:ext cx="9144000" cy="382905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90" y="3279126"/>
            <a:ext cx="6512511" cy="85725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549195"/>
            <a:ext cx="6400800" cy="26060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4629150"/>
            <a:ext cx="2514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62C1989-E848-493B-8AB9-C8F62298240F}" type="datetime1">
              <a:rPr lang="ru-RU" smtClean="0"/>
              <a:t>08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629150"/>
            <a:ext cx="335280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4629150"/>
            <a:ext cx="18288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D40008D-CB5D-42FA-9FE7-B1F5567A5933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67563127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Слайд think-cell" r:id="rId27" imgW="270" imgH="270" progId="TCLayout.ActiveDocument.1">
                  <p:embed/>
                </p:oleObj>
              </mc:Choice>
              <mc:Fallback>
                <p:oleObj name="Слайд think-cell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230358" y="1481864"/>
            <a:ext cx="168475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9972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</a:rPr>
              <a:t>Last Modified 16.12.2019 23:00 Russia TZ 2 Standard Time</a:t>
            </a:r>
            <a:endParaRPr lang="ru-RU" sz="5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318516" y="3145349"/>
            <a:ext cx="1508426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9972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</a:rPr>
              <a:t>Printed 08.08.2019 14:00 Russia TZ 2 Standard Time</a:t>
            </a:r>
            <a:endParaRPr lang="ru-RU" sz="5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0" y="176150"/>
            <a:ext cx="879411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21489" y="57982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21490" y="424602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4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21488" y="4827940"/>
            <a:ext cx="8722841" cy="2466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defTabSz="68514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600" dirty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470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6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9" y="963695"/>
            <a:ext cx="4350891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554491" y="218668"/>
            <a:ext cx="361125" cy="120033"/>
            <a:chOff x="8386869" y="285750"/>
            <a:chExt cx="353915" cy="15685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9" y="285750"/>
              <a:ext cx="353915" cy="15685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600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9" y="285750"/>
              <a:ext cx="0" cy="15685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9" y="442606"/>
              <a:ext cx="35391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 userDrawn="1"/>
        </p:nvSpPr>
        <p:spPr>
          <a:xfrm>
            <a:off x="9002414" y="4979804"/>
            <a:ext cx="34986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997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24" name="doc id" hidden="1"/>
          <p:cNvSpPr>
            <a:spLocks noChangeArrowheads="1"/>
          </p:cNvSpPr>
          <p:nvPr userDrawn="1"/>
        </p:nvSpPr>
        <p:spPr bwMode="gray">
          <a:xfrm>
            <a:off x="8002670" y="38875"/>
            <a:ext cx="892589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331150" y="213808"/>
            <a:ext cx="579093" cy="760482"/>
            <a:chOff x="7835905" y="279400"/>
            <a:chExt cx="756742" cy="993790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2742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502742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7"/>
              <a:ext cx="502742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2742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8095592" y="213808"/>
            <a:ext cx="814768" cy="556396"/>
            <a:chOff x="7540629" y="279400"/>
            <a:chExt cx="1064716" cy="727088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9972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2" y="279400"/>
              <a:ext cx="502743" cy="180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2" y="546099"/>
              <a:ext cx="502743" cy="180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2" y="825500"/>
              <a:ext cx="502743" cy="180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280121" y="191943"/>
            <a:ext cx="630116" cy="999791"/>
            <a:chOff x="7769225" y="250825"/>
            <a:chExt cx="823418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9972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02743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2743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2743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2743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2743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111569" y="1493265"/>
            <a:ext cx="3292180" cy="10830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635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60" indent="-146005" algn="l" defTabSz="68514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68083" indent="-218663" algn="l" defTabSz="68514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1073" indent="-118457" algn="l" defTabSz="68514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3001" indent="-99173" algn="l" defTabSz="68514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5.xml"/><Relationship Id="rId7" Type="http://schemas.openxmlformats.org/officeDocument/2006/relationships/image" Target="../media/image10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8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jpeg"/><Relationship Id="rId13" Type="http://schemas.openxmlformats.org/officeDocument/2006/relationships/image" Target="../media/image134.jpeg"/><Relationship Id="rId18" Type="http://schemas.openxmlformats.org/officeDocument/2006/relationships/image" Target="../media/image139.png"/><Relationship Id="rId26" Type="http://schemas.openxmlformats.org/officeDocument/2006/relationships/image" Target="../media/image147.jpeg"/><Relationship Id="rId3" Type="http://schemas.openxmlformats.org/officeDocument/2006/relationships/image" Target="../media/image126.jpg"/><Relationship Id="rId21" Type="http://schemas.openxmlformats.org/officeDocument/2006/relationships/image" Target="../media/image142.png"/><Relationship Id="rId7" Type="http://schemas.openxmlformats.org/officeDocument/2006/relationships/image" Target="../media/image130.jpeg"/><Relationship Id="rId12" Type="http://schemas.openxmlformats.org/officeDocument/2006/relationships/image" Target="../media/image133.png"/><Relationship Id="rId17" Type="http://schemas.openxmlformats.org/officeDocument/2006/relationships/image" Target="../media/image138.jpeg"/><Relationship Id="rId25" Type="http://schemas.openxmlformats.org/officeDocument/2006/relationships/image" Target="../media/image146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37.jpeg"/><Relationship Id="rId20" Type="http://schemas.openxmlformats.org/officeDocument/2006/relationships/image" Target="../media/image14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9.JPG"/><Relationship Id="rId11" Type="http://schemas.openxmlformats.org/officeDocument/2006/relationships/image" Target="../media/image123.jpeg"/><Relationship Id="rId24" Type="http://schemas.openxmlformats.org/officeDocument/2006/relationships/image" Target="../media/image145.jpeg"/><Relationship Id="rId5" Type="http://schemas.openxmlformats.org/officeDocument/2006/relationships/image" Target="../media/image128.jpeg"/><Relationship Id="rId15" Type="http://schemas.openxmlformats.org/officeDocument/2006/relationships/image" Target="../media/image136.jpeg"/><Relationship Id="rId23" Type="http://schemas.openxmlformats.org/officeDocument/2006/relationships/image" Target="../media/image144.jpeg"/><Relationship Id="rId28" Type="http://schemas.openxmlformats.org/officeDocument/2006/relationships/image" Target="../media/image149.jpeg"/><Relationship Id="rId10" Type="http://schemas.openxmlformats.org/officeDocument/2006/relationships/image" Target="../media/image132.jpeg"/><Relationship Id="rId19" Type="http://schemas.openxmlformats.org/officeDocument/2006/relationships/image" Target="../media/image140.png"/><Relationship Id="rId4" Type="http://schemas.openxmlformats.org/officeDocument/2006/relationships/image" Target="../media/image127.png"/><Relationship Id="rId9" Type="http://schemas.openxmlformats.org/officeDocument/2006/relationships/image" Target="../media/image125.jpeg"/><Relationship Id="rId14" Type="http://schemas.openxmlformats.org/officeDocument/2006/relationships/image" Target="../media/image135.jpeg"/><Relationship Id="rId22" Type="http://schemas.openxmlformats.org/officeDocument/2006/relationships/image" Target="../media/image143.jpeg"/><Relationship Id="rId27" Type="http://schemas.openxmlformats.org/officeDocument/2006/relationships/image" Target="../media/image14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jpeg"/><Relationship Id="rId3" Type="http://schemas.openxmlformats.org/officeDocument/2006/relationships/image" Target="../media/image150.png"/><Relationship Id="rId7" Type="http://schemas.openxmlformats.org/officeDocument/2006/relationships/image" Target="../media/image154.png"/><Relationship Id="rId12" Type="http://schemas.openxmlformats.org/officeDocument/2006/relationships/image" Target="../media/image15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3.png"/><Relationship Id="rId11" Type="http://schemas.openxmlformats.org/officeDocument/2006/relationships/image" Target="../media/image158.png"/><Relationship Id="rId5" Type="http://schemas.openxmlformats.org/officeDocument/2006/relationships/image" Target="../media/image152.png"/><Relationship Id="rId10" Type="http://schemas.openxmlformats.org/officeDocument/2006/relationships/image" Target="../media/image157.png"/><Relationship Id="rId4" Type="http://schemas.openxmlformats.org/officeDocument/2006/relationships/image" Target="../media/image151.png"/><Relationship Id="rId9" Type="http://schemas.openxmlformats.org/officeDocument/2006/relationships/image" Target="../media/image15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do@slh.yanao.ru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1.png"/><Relationship Id="rId5" Type="http://schemas.openxmlformats.org/officeDocument/2006/relationships/image" Target="../media/image160.png"/><Relationship Id="rId4" Type="http://schemas.openxmlformats.org/officeDocument/2006/relationships/hyperlink" Target="http://edu.shd.ru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7.xml"/><Relationship Id="rId7" Type="http://schemas.openxmlformats.org/officeDocument/2006/relationships/oleObject" Target="../embeddings/oleObject9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28.png"/><Relationship Id="rId7" Type="http://schemas.openxmlformats.org/officeDocument/2006/relationships/hyperlink" Target="https://salekhard360.ru/project/scene_44_ru.html" TargetMode="External"/><Relationship Id="rId12" Type="http://schemas.openxmlformats.org/officeDocument/2006/relationships/hyperlink" Target="https://www.youtube.com/watch?v=_RpGlPtmb00" TargetMode="External"/><Relationship Id="rId17" Type="http://schemas.openxmlformats.org/officeDocument/2006/relationships/image" Target="../media/image25.png"/><Relationship Id="rId2" Type="http://schemas.openxmlformats.org/officeDocument/2006/relationships/tags" Target="../tags/tag38.xml"/><Relationship Id="rId16" Type="http://schemas.openxmlformats.org/officeDocument/2006/relationships/image" Target="../media/image24.pn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3.png"/><Relationship Id="rId10" Type="http://schemas.openxmlformats.org/officeDocument/2006/relationships/image" Target="../media/image19.png"/><Relationship Id="rId19" Type="http://schemas.openxmlformats.org/officeDocument/2006/relationships/hyperlink" Target="https://www.youtube.com/watch?v=xB714s_Fyr4" TargetMode="External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8.png"/><Relationship Id="rId14" Type="http://schemas.openxmlformats.org/officeDocument/2006/relationships/image" Target="../media/image22.png"/><Relationship Id="rId22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mvk.yanao.ru/" TargetMode="External"/><Relationship Id="rId13" Type="http://schemas.openxmlformats.org/officeDocument/2006/relationships/image" Target="../media/image36.png"/><Relationship Id="rId18" Type="http://schemas.openxmlformats.org/officeDocument/2006/relationships/hyperlink" Target="https://www.facebook.com/visityamal/videos/%D0%BE%D0%B1%D1%8C-%D0%BE%D1%81%D0%B2%D0%BE%D0%B1%D0%BE%D0%B6%D0%B4%D0%B0%D0%B5%D1%82%D1%81%D1%8F-%D0%BE%D1%82%D0%BE-%D0%BB%D1%8C%D0%B4%D0%B0-%D0%B2%D0%B5%D1%81%D0%BD%D0%B0-2021/215560030120085/?__so__=permalink&amp;__rv__=related_videos" TargetMode="External"/><Relationship Id="rId26" Type="http://schemas.openxmlformats.org/officeDocument/2006/relationships/image" Target="../media/image43.jpeg"/><Relationship Id="rId3" Type="http://schemas.openxmlformats.org/officeDocument/2006/relationships/hyperlink" Target="https://www.facebook.com/visityamal/videos/413191126622008/" TargetMode="External"/><Relationship Id="rId21" Type="http://schemas.openxmlformats.org/officeDocument/2006/relationships/hyperlink" Target="https://www.youtube.com/watch?v=xB714s_Fyr4" TargetMode="External"/><Relationship Id="rId7" Type="http://schemas.openxmlformats.org/officeDocument/2006/relationships/image" Target="../media/image31.jpeg"/><Relationship Id="rId12" Type="http://schemas.openxmlformats.org/officeDocument/2006/relationships/image" Target="../media/image35.png"/><Relationship Id="rId17" Type="http://schemas.openxmlformats.org/officeDocument/2006/relationships/hyperlink" Target="https://&#1087;&#1086;&#1083;&#1103;&#1088;&#1080;&#1089;.&#1086;&#1085;&#1083;&#1072;&#1081;&#1085;/" TargetMode="External"/><Relationship Id="rId25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8.png"/><Relationship Id="rId20" Type="http://schemas.openxmlformats.org/officeDocument/2006/relationships/image" Target="../media/image40.png"/><Relationship Id="rId29" Type="http://schemas.openxmlformats.org/officeDocument/2006/relationships/image" Target="../media/image46.jpe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image" Target="../media/image34.png"/><Relationship Id="rId24" Type="http://schemas.openxmlformats.org/officeDocument/2006/relationships/image" Target="../media/image41.png"/><Relationship Id="rId5" Type="http://schemas.openxmlformats.org/officeDocument/2006/relationships/image" Target="../media/image30.png"/><Relationship Id="rId15" Type="http://schemas.openxmlformats.org/officeDocument/2006/relationships/image" Target="../media/image37.png"/><Relationship Id="rId23" Type="http://schemas.openxmlformats.org/officeDocument/2006/relationships/hyperlink" Target="https://www.youtube.com/watch?v=i5e2TniUpzw" TargetMode="External"/><Relationship Id="rId28" Type="http://schemas.openxmlformats.org/officeDocument/2006/relationships/image" Target="../media/image45.jpeg"/><Relationship Id="rId10" Type="http://schemas.openxmlformats.org/officeDocument/2006/relationships/image" Target="../media/image33.png"/><Relationship Id="rId19" Type="http://schemas.openxmlformats.org/officeDocument/2006/relationships/image" Target="../media/image39.png"/><Relationship Id="rId4" Type="http://schemas.openxmlformats.org/officeDocument/2006/relationships/hyperlink" Target="https://kdc.yanao.ru/" TargetMode="External"/><Relationship Id="rId9" Type="http://schemas.openxmlformats.org/officeDocument/2006/relationships/image" Target="../media/image32.png"/><Relationship Id="rId14" Type="http://schemas.openxmlformats.org/officeDocument/2006/relationships/hyperlink" Target="https://vesti-yamal.ru/ru/vjesti_jamal/ryby_khvatilo_na_vsekh_na_yamale_proshyol_otkrytyi_chempionat_po_zimnei_rybalke" TargetMode="External"/><Relationship Id="rId22" Type="http://schemas.openxmlformats.org/officeDocument/2006/relationships/image" Target="../media/image28.png"/><Relationship Id="rId27" Type="http://schemas.openxmlformats.org/officeDocument/2006/relationships/image" Target="../media/image4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2.png"/><Relationship Id="rId18" Type="http://schemas.openxmlformats.org/officeDocument/2006/relationships/hyperlink" Target="https://sportled89.ru/" TargetMode="External"/><Relationship Id="rId26" Type="http://schemas.openxmlformats.org/officeDocument/2006/relationships/hyperlink" Target="https://vk.com/yamalkite" TargetMode="External"/><Relationship Id="rId3" Type="http://schemas.openxmlformats.org/officeDocument/2006/relationships/hyperlink" Target="https://vk.com/topic-116678361_40246825" TargetMode="External"/><Relationship Id="rId21" Type="http://schemas.openxmlformats.org/officeDocument/2006/relationships/image" Target="../media/image59.jpeg"/><Relationship Id="rId34" Type="http://schemas.openxmlformats.org/officeDocument/2006/relationships/image" Target="../media/image69.jpeg"/><Relationship Id="rId7" Type="http://schemas.openxmlformats.org/officeDocument/2006/relationships/image" Target="../media/image48.jpeg"/><Relationship Id="rId12" Type="http://schemas.openxmlformats.org/officeDocument/2006/relationships/hyperlink" Target="http://auroraforecast.com/" TargetMode="External"/><Relationship Id="rId17" Type="http://schemas.openxmlformats.org/officeDocument/2006/relationships/image" Target="../media/image56.png"/><Relationship Id="rId25" Type="http://schemas.openxmlformats.org/officeDocument/2006/relationships/image" Target="../media/image61.png"/><Relationship Id="rId33" Type="http://schemas.openxmlformats.org/officeDocument/2006/relationships/image" Target="../media/image6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5.png"/><Relationship Id="rId20" Type="http://schemas.openxmlformats.org/officeDocument/2006/relationships/image" Target="../media/image58.png"/><Relationship Id="rId29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11" Type="http://schemas.openxmlformats.org/officeDocument/2006/relationships/image" Target="../media/image51.jpeg"/><Relationship Id="rId24" Type="http://schemas.microsoft.com/office/2007/relationships/hdphoto" Target="../media/hdphoto6.wdp"/><Relationship Id="rId32" Type="http://schemas.openxmlformats.org/officeDocument/2006/relationships/image" Target="../media/image67.png"/><Relationship Id="rId5" Type="http://schemas.openxmlformats.org/officeDocument/2006/relationships/image" Target="../media/image47.png"/><Relationship Id="rId15" Type="http://schemas.openxmlformats.org/officeDocument/2006/relationships/image" Target="../media/image54.png"/><Relationship Id="rId23" Type="http://schemas.openxmlformats.org/officeDocument/2006/relationships/image" Target="../media/image60.jpeg"/><Relationship Id="rId28" Type="http://schemas.openxmlformats.org/officeDocument/2006/relationships/image" Target="../media/image63.png"/><Relationship Id="rId10" Type="http://schemas.microsoft.com/office/2007/relationships/hdphoto" Target="../media/hdphoto4.wdp"/><Relationship Id="rId19" Type="http://schemas.openxmlformats.org/officeDocument/2006/relationships/image" Target="../media/image57.png"/><Relationship Id="rId31" Type="http://schemas.openxmlformats.org/officeDocument/2006/relationships/image" Target="../media/image66.jpeg"/><Relationship Id="rId4" Type="http://schemas.openxmlformats.org/officeDocument/2006/relationships/hyperlink" Target="https://geolog89.ru/" TargetMode="External"/><Relationship Id="rId9" Type="http://schemas.openxmlformats.org/officeDocument/2006/relationships/image" Target="../media/image50.jpeg"/><Relationship Id="rId14" Type="http://schemas.openxmlformats.org/officeDocument/2006/relationships/image" Target="../media/image53.png"/><Relationship Id="rId22" Type="http://schemas.microsoft.com/office/2007/relationships/hdphoto" Target="../media/hdphoto5.wdp"/><Relationship Id="rId27" Type="http://schemas.openxmlformats.org/officeDocument/2006/relationships/image" Target="../media/image62.png"/><Relationship Id="rId30" Type="http://schemas.openxmlformats.org/officeDocument/2006/relationships/image" Target="../media/image65.jpeg"/><Relationship Id="rId35" Type="http://schemas.openxmlformats.org/officeDocument/2006/relationships/image" Target="../media/image7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13" Type="http://schemas.openxmlformats.org/officeDocument/2006/relationships/image" Target="../media/image80.png"/><Relationship Id="rId18" Type="http://schemas.openxmlformats.org/officeDocument/2006/relationships/image" Target="../media/image85.jpeg"/><Relationship Id="rId26" Type="http://schemas.openxmlformats.org/officeDocument/2006/relationships/image" Target="../media/image93.png"/><Relationship Id="rId39" Type="http://schemas.openxmlformats.org/officeDocument/2006/relationships/image" Target="../media/image106.png"/><Relationship Id="rId3" Type="http://schemas.openxmlformats.org/officeDocument/2006/relationships/hyperlink" Target="https://shopandmall.ru/retail/ostin" TargetMode="External"/><Relationship Id="rId21" Type="http://schemas.openxmlformats.org/officeDocument/2006/relationships/image" Target="../media/image88.png"/><Relationship Id="rId34" Type="http://schemas.openxmlformats.org/officeDocument/2006/relationships/image" Target="../media/image101.png"/><Relationship Id="rId42" Type="http://schemas.openxmlformats.org/officeDocument/2006/relationships/image" Target="../media/image109.png"/><Relationship Id="rId47" Type="http://schemas.openxmlformats.org/officeDocument/2006/relationships/image" Target="../media/image114.png"/><Relationship Id="rId7" Type="http://schemas.openxmlformats.org/officeDocument/2006/relationships/image" Target="../media/image74.png"/><Relationship Id="rId12" Type="http://schemas.openxmlformats.org/officeDocument/2006/relationships/image" Target="../media/image79.jpeg"/><Relationship Id="rId17" Type="http://schemas.openxmlformats.org/officeDocument/2006/relationships/image" Target="../media/image84.png"/><Relationship Id="rId25" Type="http://schemas.openxmlformats.org/officeDocument/2006/relationships/image" Target="../media/image92.jpeg"/><Relationship Id="rId33" Type="http://schemas.openxmlformats.org/officeDocument/2006/relationships/image" Target="../media/image100.png"/><Relationship Id="rId38" Type="http://schemas.openxmlformats.org/officeDocument/2006/relationships/image" Target="../media/image105.png"/><Relationship Id="rId46" Type="http://schemas.openxmlformats.org/officeDocument/2006/relationships/image" Target="../media/image113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83.png"/><Relationship Id="rId20" Type="http://schemas.openxmlformats.org/officeDocument/2006/relationships/image" Target="../media/image87.png"/><Relationship Id="rId29" Type="http://schemas.openxmlformats.org/officeDocument/2006/relationships/image" Target="../media/image96.png"/><Relationship Id="rId41" Type="http://schemas.openxmlformats.org/officeDocument/2006/relationships/image" Target="../media/image10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24" Type="http://schemas.openxmlformats.org/officeDocument/2006/relationships/image" Target="../media/image91.jpeg"/><Relationship Id="rId32" Type="http://schemas.openxmlformats.org/officeDocument/2006/relationships/image" Target="../media/image99.jpeg"/><Relationship Id="rId37" Type="http://schemas.openxmlformats.org/officeDocument/2006/relationships/image" Target="../media/image104.png"/><Relationship Id="rId40" Type="http://schemas.openxmlformats.org/officeDocument/2006/relationships/image" Target="../media/image107.png"/><Relationship Id="rId45" Type="http://schemas.openxmlformats.org/officeDocument/2006/relationships/image" Target="../media/image112.png"/><Relationship Id="rId5" Type="http://schemas.openxmlformats.org/officeDocument/2006/relationships/image" Target="../media/image72.png"/><Relationship Id="rId15" Type="http://schemas.openxmlformats.org/officeDocument/2006/relationships/image" Target="../media/image82.png"/><Relationship Id="rId23" Type="http://schemas.openxmlformats.org/officeDocument/2006/relationships/image" Target="../media/image90.jpeg"/><Relationship Id="rId28" Type="http://schemas.openxmlformats.org/officeDocument/2006/relationships/image" Target="../media/image95.jpeg"/><Relationship Id="rId36" Type="http://schemas.openxmlformats.org/officeDocument/2006/relationships/image" Target="../media/image103.png"/><Relationship Id="rId10" Type="http://schemas.openxmlformats.org/officeDocument/2006/relationships/image" Target="../media/image77.png"/><Relationship Id="rId19" Type="http://schemas.openxmlformats.org/officeDocument/2006/relationships/image" Target="../media/image86.png"/><Relationship Id="rId31" Type="http://schemas.openxmlformats.org/officeDocument/2006/relationships/image" Target="../media/image98.png"/><Relationship Id="rId44" Type="http://schemas.openxmlformats.org/officeDocument/2006/relationships/image" Target="../media/image111.png"/><Relationship Id="rId4" Type="http://schemas.openxmlformats.org/officeDocument/2006/relationships/image" Target="../media/image71.png"/><Relationship Id="rId9" Type="http://schemas.openxmlformats.org/officeDocument/2006/relationships/image" Target="../media/image76.jpeg"/><Relationship Id="rId14" Type="http://schemas.openxmlformats.org/officeDocument/2006/relationships/image" Target="../media/image81.png"/><Relationship Id="rId22" Type="http://schemas.openxmlformats.org/officeDocument/2006/relationships/image" Target="../media/image89.png"/><Relationship Id="rId27" Type="http://schemas.openxmlformats.org/officeDocument/2006/relationships/image" Target="../media/image94.jpeg"/><Relationship Id="rId30" Type="http://schemas.openxmlformats.org/officeDocument/2006/relationships/image" Target="../media/image97.jpeg"/><Relationship Id="rId35" Type="http://schemas.openxmlformats.org/officeDocument/2006/relationships/image" Target="../media/image102.jpeg"/><Relationship Id="rId43" Type="http://schemas.openxmlformats.org/officeDocument/2006/relationships/image" Target="../media/image110.png"/><Relationship Id="rId48" Type="http://schemas.openxmlformats.org/officeDocument/2006/relationships/image" Target="../media/image1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jpeg"/><Relationship Id="rId13" Type="http://schemas.openxmlformats.org/officeDocument/2006/relationships/image" Target="../media/image122.jpeg"/><Relationship Id="rId3" Type="http://schemas.openxmlformats.org/officeDocument/2006/relationships/hyperlink" Target="https://yamal.aero/" TargetMode="External"/><Relationship Id="rId7" Type="http://schemas.openxmlformats.org/officeDocument/2006/relationships/image" Target="../media/image117.png"/><Relationship Id="rId12" Type="http://schemas.openxmlformats.org/officeDocument/2006/relationships/image" Target="../media/image12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2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6.jpeg"/><Relationship Id="rId11" Type="http://schemas.openxmlformats.org/officeDocument/2006/relationships/image" Target="../media/image120.jpeg"/><Relationship Id="rId5" Type="http://schemas.openxmlformats.org/officeDocument/2006/relationships/hyperlink" Target="https://leto.yanao.ru/" TargetMode="External"/><Relationship Id="rId15" Type="http://schemas.openxmlformats.org/officeDocument/2006/relationships/image" Target="../media/image124.jpg"/><Relationship Id="rId10" Type="http://schemas.openxmlformats.org/officeDocument/2006/relationships/image" Target="../media/image119.png"/><Relationship Id="rId4" Type="http://schemas.openxmlformats.org/officeDocument/2006/relationships/hyperlink" Target="http://e-uslugi.yanao.ru/" TargetMode="External"/><Relationship Id="rId9" Type="http://schemas.openxmlformats.org/officeDocument/2006/relationships/hyperlink" Target="http://art.yanao.ru/" TargetMode="External"/><Relationship Id="rId14" Type="http://schemas.openxmlformats.org/officeDocument/2006/relationships/image" Target="../media/image1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7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389613"/>
              </p:ext>
            </p:extLst>
          </p:nvPr>
        </p:nvGraphicFramePr>
        <p:xfrm>
          <a:off x="1695" y="-85577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6" name="Слайд think-cell" r:id="rId8" imgW="353" imgH="353" progId="TCLayout.ActiveDocument.1">
                  <p:embed/>
                </p:oleObj>
              </mc:Choice>
              <mc:Fallback>
                <p:oleObj name="Слайд think-cell" r:id="rId8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95" y="-85577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813B92A-901B-43A8-99C3-A5E2056FBF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04" fontAlgn="base">
              <a:spcBef>
                <a:spcPct val="0"/>
              </a:spcBef>
              <a:spcAft>
                <a:spcPct val="0"/>
              </a:spcAft>
            </a:pPr>
            <a:endParaRPr lang="ru-RU" sz="3400" b="1" dirty="0" err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536" y="3651874"/>
            <a:ext cx="4573638" cy="40610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500" dirty="0" smtClean="0">
                <a:solidFill>
                  <a:schemeClr val="bg1"/>
                </a:solidFill>
              </a:rPr>
              <a:t>Салехард, 2022 </a:t>
            </a:r>
            <a:r>
              <a:rPr lang="ru-RU" sz="1500" dirty="0">
                <a:solidFill>
                  <a:schemeClr val="bg1"/>
                </a:solidFill>
              </a:rPr>
              <a:t>г.</a:t>
            </a:r>
            <a:endParaRPr lang="ru-RU" sz="1500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251520" y="1203599"/>
            <a:ext cx="5040560" cy="160043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3600" dirty="0" smtClean="0"/>
              <a:t>САЛЕХАРД</a:t>
            </a:r>
            <a:r>
              <a:rPr lang="ru-RU" dirty="0" smtClean="0"/>
              <a:t> –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город, </a:t>
            </a:r>
            <a:br>
              <a:rPr lang="ru-RU" dirty="0" smtClean="0"/>
            </a:br>
            <a:r>
              <a:rPr lang="ru-RU" dirty="0" smtClean="0"/>
              <a:t>где тебя ждут!</a:t>
            </a:r>
            <a:endParaRPr lang="ru-RU" sz="4000" dirty="0"/>
          </a:p>
        </p:txBody>
      </p:sp>
    </p:spTree>
    <p:extLst>
      <p:ext uri="{BB962C8B-B14F-4D97-AF65-F5344CB8AC3E}">
        <p14:creationId xmlns:p14="http://schemas.microsoft.com/office/powerpoint/2010/main" val="3175597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604217" y="371443"/>
            <a:ext cx="5935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8 образовательных организаций: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055655" y="3363840"/>
            <a:ext cx="100811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4" name="Группа 43"/>
          <p:cNvGrpSpPr/>
          <p:nvPr/>
        </p:nvGrpSpPr>
        <p:grpSpPr>
          <a:xfrm>
            <a:off x="2" y="0"/>
            <a:ext cx="9143999" cy="271642"/>
            <a:chOff x="-12794" y="-2074"/>
            <a:chExt cx="6876256" cy="271642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4568881" y="-2074"/>
              <a:ext cx="2294581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-12794" y="-2074"/>
              <a:ext cx="2311204" cy="27164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2281787" y="0"/>
              <a:ext cx="2287095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</a:t>
              </a:r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жизн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1428654" y="915566"/>
            <a:ext cx="6221991" cy="1514576"/>
            <a:chOff x="1428654" y="1266458"/>
            <a:chExt cx="6221991" cy="1514576"/>
          </a:xfrm>
        </p:grpSpPr>
        <p:sp>
          <p:nvSpPr>
            <p:cNvPr id="69" name="Овал 68"/>
            <p:cNvSpPr/>
            <p:nvPr/>
          </p:nvSpPr>
          <p:spPr>
            <a:xfrm>
              <a:off x="3859963" y="1275606"/>
              <a:ext cx="1424075" cy="1079382"/>
            </a:xfrm>
            <a:prstGeom prst="ellipse">
              <a:avLst/>
            </a:prstGeom>
            <a:blipFill>
              <a:blip r:embed="rId3"/>
              <a:srcRect/>
              <a:stretch>
                <a:fillRect b="-5676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2879812" y="2355726"/>
              <a:ext cx="3384376" cy="27699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700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партамент образования Администрации г. Салехарда</a:t>
              </a:r>
            </a:p>
            <a:p>
              <a:pPr algn="ctr"/>
              <a:r>
                <a:rPr lang="ru-RU" sz="5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ул. Ямальская, д.30)</a:t>
              </a:r>
              <a:endParaRPr lang="ru-RU" sz="5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Дуга 53"/>
            <p:cNvSpPr/>
            <p:nvPr/>
          </p:nvSpPr>
          <p:spPr>
            <a:xfrm rot="10800000">
              <a:off x="2009079" y="1533001"/>
              <a:ext cx="5208576" cy="1082473"/>
            </a:xfrm>
            <a:prstGeom prst="arc">
              <a:avLst>
                <a:gd name="adj1" fmla="val 8188454"/>
                <a:gd name="adj2" fmla="val 2252999"/>
              </a:avLst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6874" y="1266458"/>
              <a:ext cx="1923771" cy="1514576"/>
            </a:xfrm>
            <a:prstGeom prst="ellipse">
              <a:avLst/>
            </a:prstGeom>
          </p:spPr>
        </p:pic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8654" y="1274180"/>
              <a:ext cx="1923771" cy="1358545"/>
            </a:xfrm>
            <a:prstGeom prst="ellipse">
              <a:avLst/>
            </a:prstGeom>
            <a:blipFill>
              <a:blip r:embed="rId6"/>
              <a:stretch>
                <a:fillRect/>
              </a:stretch>
            </a:blipFill>
          </p:spPr>
        </p:pic>
      </p:grpSp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118" y="2259214"/>
            <a:ext cx="1923771" cy="1176632"/>
          </a:xfrm>
          <a:prstGeom prst="ellipse">
            <a:avLst/>
          </a:prstGeom>
          <a:blipFill>
            <a:blip r:embed="rId6"/>
            <a:stretch>
              <a:fillRect/>
            </a:stretch>
          </a:blipFill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" t="4535" b="5375"/>
          <a:stretch/>
        </p:blipFill>
        <p:spPr>
          <a:xfrm>
            <a:off x="3741241" y="3435846"/>
            <a:ext cx="1661518" cy="951514"/>
          </a:xfrm>
          <a:prstGeom prst="rect">
            <a:avLst/>
          </a:prstGeom>
        </p:spPr>
      </p:pic>
      <p:grpSp>
        <p:nvGrpSpPr>
          <p:cNvPr id="20" name="Группа 19"/>
          <p:cNvGrpSpPr/>
          <p:nvPr/>
        </p:nvGrpSpPr>
        <p:grpSpPr>
          <a:xfrm>
            <a:off x="5538911" y="2499744"/>
            <a:ext cx="1625385" cy="1792798"/>
            <a:chOff x="5533886" y="3054424"/>
            <a:chExt cx="1625385" cy="1792798"/>
          </a:xfrm>
        </p:grpSpPr>
        <p:grpSp>
          <p:nvGrpSpPr>
            <p:cNvPr id="16" name="Группа 15"/>
            <p:cNvGrpSpPr/>
            <p:nvPr/>
          </p:nvGrpSpPr>
          <p:grpSpPr>
            <a:xfrm>
              <a:off x="5533886" y="3054424"/>
              <a:ext cx="1625385" cy="1792798"/>
              <a:chOff x="1984730" y="3056629"/>
              <a:chExt cx="1625385" cy="1792798"/>
            </a:xfrm>
          </p:grpSpPr>
          <p:sp>
            <p:nvSpPr>
              <p:cNvPr id="57" name="TextBox 56"/>
              <p:cNvSpPr txBox="1"/>
              <p:nvPr/>
            </p:nvSpPr>
            <p:spPr>
              <a:xfrm>
                <a:off x="1984731" y="3056629"/>
                <a:ext cx="1625384" cy="179279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50" b="1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</a:t>
                </a:r>
              </a:p>
              <a:p>
                <a:pPr algn="ctr"/>
                <a:r>
                  <a:rPr lang="ru-RU" sz="10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у</a:t>
                </a:r>
                <a:r>
                  <a:rPr lang="ru-RU" sz="10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чреждения дополнительного образования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Детско-юношеский центр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Центр детского творчества «Надежда»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Центр внешкольной работы</a:t>
                </a:r>
              </a:p>
              <a:p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___________________</a:t>
                </a:r>
              </a:p>
              <a:p>
                <a:endPara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+ Ведется строительство </a:t>
                </a:r>
              </a:p>
              <a:p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детского технопарка </a:t>
                </a:r>
              </a:p>
              <a:p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«</a:t>
                </a:r>
                <a:r>
                  <a:rPr lang="ru-RU" sz="700" dirty="0" err="1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Кванториум</a:t>
                </a: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»</a:t>
                </a:r>
              </a:p>
              <a:p>
                <a:endParaRPr lang="ru-RU" sz="700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55" name="Рисунок 54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88008" y="4273755"/>
                <a:ext cx="514779" cy="511601"/>
              </a:xfrm>
              <a:prstGeom prst="rect">
                <a:avLst/>
              </a:prstGeom>
            </p:spPr>
          </p:pic>
          <p:sp>
            <p:nvSpPr>
              <p:cNvPr id="33" name="Прямоугольник 32"/>
              <p:cNvSpPr/>
              <p:nvPr/>
            </p:nvSpPr>
            <p:spPr>
              <a:xfrm>
                <a:off x="1984730" y="4227935"/>
                <a:ext cx="1088694" cy="621492"/>
              </a:xfrm>
              <a:prstGeom prst="rect">
                <a:avLst/>
              </a:pr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28342" y="4574112"/>
              <a:ext cx="359882" cy="202208"/>
            </a:xfrm>
            <a:prstGeom prst="rect">
              <a:avLst/>
            </a:prstGeom>
          </p:spPr>
        </p:pic>
      </p:grpSp>
      <p:sp>
        <p:nvSpPr>
          <p:cNvPr id="35" name="Прямоугольник 34"/>
          <p:cNvSpPr/>
          <p:nvPr/>
        </p:nvSpPr>
        <p:spPr>
          <a:xfrm>
            <a:off x="3731764" y="3396401"/>
            <a:ext cx="1671003" cy="975549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5" name="Группа 14"/>
          <p:cNvGrpSpPr/>
          <p:nvPr/>
        </p:nvGrpSpPr>
        <p:grpSpPr>
          <a:xfrm>
            <a:off x="76138" y="627536"/>
            <a:ext cx="1352516" cy="2131353"/>
            <a:chOff x="123140" y="1266458"/>
            <a:chExt cx="1352516" cy="2131353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123140" y="1266458"/>
              <a:ext cx="1352516" cy="2131353"/>
              <a:chOff x="519184" y="1259128"/>
              <a:chExt cx="1352516" cy="2131353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519184" y="1259128"/>
                <a:ext cx="1352516" cy="2131353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50" b="1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6</a:t>
                </a:r>
              </a:p>
              <a:p>
                <a:pPr algn="ctr"/>
                <a:r>
                  <a:rPr lang="ru-RU" sz="10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школ: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2 корпуса Обдорской гимназии 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Школа №</a:t>
                </a:r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1 </a:t>
                </a: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им. Героя </a:t>
                </a:r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оветского Союза И.В. Королькова</a:t>
                </a:r>
                <a:endPara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Школа №2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Школа №3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Школа №4</a:t>
                </a:r>
              </a:p>
              <a:p>
                <a:pPr marL="171450" indent="-171450">
                  <a:buFontTx/>
                  <a:buChar char="-"/>
                </a:pP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Школа №6</a:t>
                </a:r>
              </a:p>
              <a:p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___________________</a:t>
                </a:r>
              </a:p>
              <a:p>
                <a:endParaRPr lang="ru-RU" sz="700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+ </a:t>
                </a: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Ведётся </a:t>
                </a:r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троительство </a:t>
                </a: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школ </a:t>
                </a:r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на 800 </a:t>
                </a: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и </a:t>
                </a:r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на 1275 </a:t>
                </a: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мест. Проектирование </a:t>
                </a:r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дополнительного </a:t>
                </a:r>
                <a:r>
                  <a:rPr lang="ru-RU" sz="700" dirty="0" smtClean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корпуса школы №2 </a:t>
                </a:r>
                <a:r>
                  <a:rPr lang="ru-RU" sz="700" dirty="0">
                    <a:solidFill>
                      <a:schemeClr val="tx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на 800 мест.</a:t>
                </a:r>
              </a:p>
            </p:txBody>
          </p:sp>
          <p:pic>
            <p:nvPicPr>
              <p:cNvPr id="53" name="Рисунок 52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98109" y="2105023"/>
                <a:ext cx="551776" cy="562187"/>
              </a:xfrm>
              <a:prstGeom prst="rect">
                <a:avLst/>
              </a:prstGeom>
            </p:spPr>
          </p:pic>
        </p:grpSp>
        <p:sp>
          <p:nvSpPr>
            <p:cNvPr id="36" name="Прямоугольник 35"/>
            <p:cNvSpPr/>
            <p:nvPr/>
          </p:nvSpPr>
          <p:spPr>
            <a:xfrm>
              <a:off x="123140" y="2674541"/>
              <a:ext cx="1352516" cy="723270"/>
            </a:xfrm>
            <a:prstGeom prst="rect">
              <a:avLst/>
            </a:pr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2" t="16401" r="52738" b="44038"/>
          <a:stretch/>
        </p:blipFill>
        <p:spPr>
          <a:xfrm>
            <a:off x="76138" y="2892940"/>
            <a:ext cx="1331279" cy="83133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31" b="9860"/>
          <a:stretch/>
        </p:blipFill>
        <p:spPr>
          <a:xfrm>
            <a:off x="72506" y="3753719"/>
            <a:ext cx="1334332" cy="762249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76136" y="2881869"/>
            <a:ext cx="1327512" cy="842010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72506" y="3753719"/>
            <a:ext cx="1331142" cy="762249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3833" y="4343530"/>
            <a:ext cx="1422431" cy="74850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933" y="4403015"/>
            <a:ext cx="1087532" cy="70668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2431" y="4401662"/>
            <a:ext cx="1243665" cy="724067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4192431" y="4405871"/>
            <a:ext cx="1243665" cy="722163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5456816" y="4348480"/>
            <a:ext cx="1419440" cy="743552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" t="26368" r="8164"/>
          <a:stretch/>
        </p:blipFill>
        <p:spPr>
          <a:xfrm>
            <a:off x="72507" y="4565563"/>
            <a:ext cx="1331142" cy="544136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3028933" y="4419925"/>
            <a:ext cx="1087532" cy="689774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749" y="2376344"/>
            <a:ext cx="2130863" cy="709383"/>
          </a:xfrm>
          <a:prstGeom prst="rect">
            <a:avLst/>
          </a:prstGeom>
        </p:spPr>
      </p:pic>
      <p:grpSp>
        <p:nvGrpSpPr>
          <p:cNvPr id="37" name="Группа 36"/>
          <p:cNvGrpSpPr/>
          <p:nvPr/>
        </p:nvGrpSpPr>
        <p:grpSpPr>
          <a:xfrm>
            <a:off x="1475657" y="4011910"/>
            <a:ext cx="1723925" cy="1014528"/>
            <a:chOff x="1528381" y="3220926"/>
            <a:chExt cx="1723925" cy="1014528"/>
          </a:xfrm>
        </p:grpSpPr>
        <p:pic>
          <p:nvPicPr>
            <p:cNvPr id="88" name="Рисунок 87"/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8213" y="3220926"/>
              <a:ext cx="1193831" cy="365233"/>
            </a:xfrm>
            <a:prstGeom prst="rect">
              <a:avLst/>
            </a:prstGeom>
          </p:spPr>
        </p:pic>
        <p:grpSp>
          <p:nvGrpSpPr>
            <p:cNvPr id="28" name="Группа 27"/>
            <p:cNvGrpSpPr/>
            <p:nvPr/>
          </p:nvGrpSpPr>
          <p:grpSpPr>
            <a:xfrm>
              <a:off x="1641486" y="3617879"/>
              <a:ext cx="1542378" cy="295089"/>
              <a:chOff x="1383755" y="3785771"/>
              <a:chExt cx="1542378" cy="295089"/>
            </a:xfrm>
          </p:grpSpPr>
          <p:pic>
            <p:nvPicPr>
              <p:cNvPr id="89" name="Рисунок 88"/>
              <p:cNvPicPr>
                <a:picLocks noChangeAspect="1"/>
              </p:cNvPicPr>
              <p:nvPr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2760" t="30340" r="22379" b="50999"/>
              <a:stretch/>
            </p:blipFill>
            <p:spPr>
              <a:xfrm>
                <a:off x="1383755" y="3785771"/>
                <a:ext cx="239699" cy="295089"/>
              </a:xfrm>
              <a:prstGeom prst="rect">
                <a:avLst/>
              </a:prstGeom>
              <a:ln>
                <a:noFill/>
              </a:ln>
              <a:effectLst/>
            </p:spPr>
          </p:pic>
          <p:sp>
            <p:nvSpPr>
              <p:cNvPr id="27" name="Прямоугольник 26"/>
              <p:cNvSpPr/>
              <p:nvPr/>
            </p:nvSpPr>
            <p:spPr>
              <a:xfrm>
                <a:off x="1641486" y="3798663"/>
                <a:ext cx="1284647" cy="26930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0"/>
                  </a:spcAft>
                </a:pPr>
                <a:r>
                  <a:rPr lang="ru-RU" sz="500" dirty="0" smtClean="0">
                    <a:solidFill>
                      <a:srgbClr val="111937"/>
                    </a:solidFill>
                    <a:latin typeface="PT Astra Serif" pitchFamily="18" charset="-52"/>
                    <a:ea typeface="PT Astra Serif" pitchFamily="18" charset="-52"/>
                  </a:rPr>
                  <a:t>Первый в России «Лукойл-класс» Обдорской гимназии</a:t>
                </a:r>
                <a:endParaRPr lang="ru-RU" sz="500" dirty="0">
                  <a:solidFill>
                    <a:srgbClr val="111937"/>
                  </a:solidFill>
                  <a:latin typeface="PT Astra Serif" pitchFamily="18" charset="-52"/>
                  <a:ea typeface="PT Astra Serif" pitchFamily="18" charset="-52"/>
                  <a:cs typeface="Times New Roman"/>
                </a:endParaRPr>
              </a:p>
            </p:txBody>
          </p:sp>
        </p:grpSp>
        <p:grpSp>
          <p:nvGrpSpPr>
            <p:cNvPr id="32" name="Группа 31"/>
            <p:cNvGrpSpPr/>
            <p:nvPr/>
          </p:nvGrpSpPr>
          <p:grpSpPr>
            <a:xfrm>
              <a:off x="1528381" y="3966150"/>
              <a:ext cx="1723925" cy="269304"/>
              <a:chOff x="1354608" y="4053481"/>
              <a:chExt cx="1723925" cy="269304"/>
            </a:xfrm>
          </p:grpSpPr>
          <p:pic>
            <p:nvPicPr>
              <p:cNvPr id="90" name="Рисунок 89"/>
              <p:cNvPicPr/>
              <p:nvPr/>
            </p:nvPicPr>
            <p:blipFill rotWithShape="1"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615" t="14246" r="74519" b="78062"/>
              <a:stretch/>
            </p:blipFill>
            <p:spPr bwMode="auto">
              <a:xfrm>
                <a:off x="1354608" y="4092258"/>
                <a:ext cx="526902" cy="137208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91" name="Прямоугольник 90"/>
              <p:cNvSpPr/>
              <p:nvPr/>
            </p:nvSpPr>
            <p:spPr>
              <a:xfrm>
                <a:off x="1793886" y="4053481"/>
                <a:ext cx="1284647" cy="26930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0"/>
                  </a:spcAft>
                </a:pPr>
                <a:r>
                  <a:rPr lang="ru-RU" sz="500" dirty="0" smtClean="0">
                    <a:solidFill>
                      <a:srgbClr val="111937"/>
                    </a:solidFill>
                    <a:latin typeface="PT Astra Serif" pitchFamily="18" charset="-52"/>
                    <a:ea typeface="PT Astra Serif" pitchFamily="18" charset="-52"/>
                  </a:rPr>
                  <a:t>Физико-математический класс «</a:t>
                </a:r>
                <a:r>
                  <a:rPr lang="ru-RU" sz="500" dirty="0" err="1" smtClean="0">
                    <a:solidFill>
                      <a:srgbClr val="111937"/>
                    </a:solidFill>
                    <a:latin typeface="PT Astra Serif" pitchFamily="18" charset="-52"/>
                    <a:ea typeface="PT Astra Serif" pitchFamily="18" charset="-52"/>
                  </a:rPr>
                  <a:t>Новатэк</a:t>
                </a:r>
                <a:r>
                  <a:rPr lang="ru-RU" sz="500" dirty="0">
                    <a:solidFill>
                      <a:srgbClr val="111937"/>
                    </a:solidFill>
                    <a:latin typeface="PT Astra Serif" pitchFamily="18" charset="-52"/>
                    <a:ea typeface="PT Astra Serif" pitchFamily="18" charset="-52"/>
                  </a:rPr>
                  <a:t>»</a:t>
                </a:r>
              </a:p>
            </p:txBody>
          </p:sp>
        </p:grpSp>
      </p:grpSp>
      <p:grpSp>
        <p:nvGrpSpPr>
          <p:cNvPr id="38" name="Группа 37"/>
          <p:cNvGrpSpPr/>
          <p:nvPr/>
        </p:nvGrpSpPr>
        <p:grpSpPr>
          <a:xfrm>
            <a:off x="7650645" y="627536"/>
            <a:ext cx="1437664" cy="3002805"/>
            <a:chOff x="7650645" y="1275606"/>
            <a:chExt cx="1437664" cy="3002805"/>
          </a:xfrm>
        </p:grpSpPr>
        <p:sp>
          <p:nvSpPr>
            <p:cNvPr id="63" name="TextBox 62"/>
            <p:cNvSpPr txBox="1"/>
            <p:nvPr/>
          </p:nvSpPr>
          <p:spPr>
            <a:xfrm>
              <a:off x="7650645" y="1275606"/>
              <a:ext cx="1428159" cy="299312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050" b="1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9</a:t>
              </a:r>
            </a:p>
            <a:p>
              <a:pPr algn="ctr"/>
              <a:r>
                <a:rPr lang="ru-RU" sz="1000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</a:t>
              </a:r>
              <a:r>
                <a:rPr lang="ru-RU" sz="10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етских садов: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Мамонтёнок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еверное сияние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синка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негурочка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ябинка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Журавушка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рылышки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ленёнок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ристаллик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Брусничка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Морошка -</a:t>
              </a:r>
              <a:endParaRPr lang="en-US" sz="7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олотой </a:t>
              </a:r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лючик -</a:t>
              </a:r>
              <a:endParaRPr lang="en-US" sz="7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мка -</a:t>
              </a:r>
              <a:endParaRPr lang="en-US" sz="7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лыбка -</a:t>
              </a:r>
              <a:endParaRPr lang="en-US" sz="7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Бережок -</a:t>
              </a:r>
              <a:endParaRPr lang="en-US" sz="7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Мозаика -</a:t>
              </a:r>
              <a:endParaRPr lang="en-US" sz="7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олотая </a:t>
              </a:r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ыбка -</a:t>
              </a:r>
              <a:endParaRPr lang="en-US" sz="7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ветлячок -</a:t>
              </a:r>
              <a:endParaRPr lang="en-US" sz="7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иняя </a:t>
              </a:r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тица -</a:t>
              </a: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______________________</a:t>
              </a:r>
            </a:p>
            <a:p>
              <a:endParaRPr lang="ru-RU" sz="7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r"/>
              <a:r>
                <a:rPr lang="ru-RU" sz="7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 Планируется строительство 3 новых детских садов на 1000 мест</a:t>
              </a: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2" r="19247" b="2501"/>
            <a:stretch/>
          </p:blipFill>
          <p:spPr>
            <a:xfrm>
              <a:off x="7708570" y="2040469"/>
              <a:ext cx="596733" cy="621340"/>
            </a:xfrm>
            <a:prstGeom prst="rect">
              <a:avLst/>
            </a:prstGeom>
          </p:spPr>
        </p:pic>
        <p:sp>
          <p:nvSpPr>
            <p:cNvPr id="92" name="Прямоугольник 91"/>
            <p:cNvSpPr/>
            <p:nvPr/>
          </p:nvSpPr>
          <p:spPr>
            <a:xfrm>
              <a:off x="7650645" y="3752639"/>
              <a:ext cx="1437664" cy="525772"/>
            </a:xfrm>
            <a:prstGeom prst="rect">
              <a:avLst/>
            </a:pr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60"/>
          <a:stretch/>
        </p:blipFill>
        <p:spPr>
          <a:xfrm>
            <a:off x="7195600" y="3714940"/>
            <a:ext cx="894173" cy="65120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63" y="3716014"/>
            <a:ext cx="971446" cy="64763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027" y="4410339"/>
            <a:ext cx="971446" cy="647631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18" b="13689"/>
          <a:stretch/>
        </p:blipFill>
        <p:spPr>
          <a:xfrm>
            <a:off x="8194136" y="4419925"/>
            <a:ext cx="894173" cy="642837"/>
          </a:xfrm>
          <a:prstGeom prst="rect">
            <a:avLst/>
          </a:prstGeom>
        </p:spPr>
      </p:pic>
      <p:sp>
        <p:nvSpPr>
          <p:cNvPr id="64" name="Прямоугольник 63"/>
          <p:cNvSpPr/>
          <p:nvPr/>
        </p:nvSpPr>
        <p:spPr>
          <a:xfrm>
            <a:off x="72506" y="4565561"/>
            <a:ext cx="1331142" cy="511512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863" y="3277945"/>
            <a:ext cx="1044114" cy="69621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3"/>
          <a:stretch/>
        </p:blipFill>
        <p:spPr>
          <a:xfrm>
            <a:off x="2557203" y="3277945"/>
            <a:ext cx="1072131" cy="69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630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Группа 43"/>
          <p:cNvGrpSpPr/>
          <p:nvPr/>
        </p:nvGrpSpPr>
        <p:grpSpPr>
          <a:xfrm>
            <a:off x="2" y="0"/>
            <a:ext cx="9143999" cy="271642"/>
            <a:chOff x="-12794" y="-2074"/>
            <a:chExt cx="6876256" cy="271642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4568881" y="-2074"/>
              <a:ext cx="2294581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-12794" y="-2074"/>
              <a:ext cx="2311204" cy="27164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2281787" y="0"/>
              <a:ext cx="2287095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</a:t>
              </a:r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жизн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56654" y="339502"/>
            <a:ext cx="1224136" cy="610502"/>
            <a:chOff x="5090325" y="888577"/>
            <a:chExt cx="1224136" cy="610502"/>
          </a:xfrm>
        </p:grpSpPr>
        <p:sp>
          <p:nvSpPr>
            <p:cNvPr id="62" name="TextBox 61"/>
            <p:cNvSpPr txBox="1"/>
            <p:nvPr/>
          </p:nvSpPr>
          <p:spPr>
            <a:xfrm>
              <a:off x="5090325" y="1160525"/>
              <a:ext cx="122413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Ежегодный отпуск</a:t>
              </a:r>
            </a:p>
            <a:p>
              <a:pPr algn="ctr"/>
              <a:r>
                <a:rPr lang="ru-RU" sz="8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от </a:t>
              </a:r>
              <a:r>
                <a:rPr lang="ru-RU" sz="800" b="1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6</a:t>
              </a:r>
              <a:r>
                <a:rPr lang="en-US" sz="800" b="1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6</a:t>
              </a:r>
              <a:r>
                <a:rPr lang="ru-RU" sz="800" b="1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8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ней </a:t>
              </a:r>
            </a:p>
          </p:txBody>
        </p:sp>
        <p:pic>
          <p:nvPicPr>
            <p:cNvPr id="64" name="Picture 7" descr="C:\Users\e.markova\Desktop\РЕЗЮМЕ\фото\10952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2146" y="888577"/>
              <a:ext cx="320494" cy="320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" name="Группа 64"/>
          <p:cNvGrpSpPr/>
          <p:nvPr/>
        </p:nvGrpSpPr>
        <p:grpSpPr>
          <a:xfrm>
            <a:off x="7543739" y="339502"/>
            <a:ext cx="1564765" cy="782442"/>
            <a:chOff x="6365896" y="1298016"/>
            <a:chExt cx="1564765" cy="782442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6365896" y="1618793"/>
              <a:ext cx="15647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8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роезда к месту отдыха для тебя и детей один раз в два года</a:t>
              </a:r>
            </a:p>
          </p:txBody>
        </p:sp>
        <p:pic>
          <p:nvPicPr>
            <p:cNvPr id="67" name="Picture 2" descr="C:\Users\e.markova\Desktop\РЕЗЮМЕ\фото\82622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7349" y="1298016"/>
              <a:ext cx="421858" cy="4218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Группа 3"/>
          <p:cNvGrpSpPr/>
          <p:nvPr/>
        </p:nvGrpSpPr>
        <p:grpSpPr>
          <a:xfrm>
            <a:off x="56654" y="4161301"/>
            <a:ext cx="1707034" cy="790064"/>
            <a:chOff x="776734" y="2315359"/>
            <a:chExt cx="1707034" cy="790064"/>
          </a:xfrm>
        </p:grpSpPr>
        <p:sp>
          <p:nvSpPr>
            <p:cNvPr id="14" name="TextBox 13"/>
            <p:cNvSpPr txBox="1"/>
            <p:nvPr/>
          </p:nvSpPr>
          <p:spPr>
            <a:xfrm>
              <a:off x="776734" y="2643758"/>
              <a:ext cx="170703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" indent="0" algn="ctr">
                <a:buNone/>
              </a:pP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Выплачивается 80%  </a:t>
              </a:r>
              <a:endParaRPr lang="en-US" sz="800" b="1" dirty="0" smtClean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45720" indent="0" algn="ctr">
                <a:buNone/>
              </a:pP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к </a:t>
              </a:r>
              <a:r>
                <a:rPr lang="ru-RU" sz="800" b="1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заработной плате </a:t>
              </a: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за работу </a:t>
              </a:r>
              <a:r>
                <a:rPr lang="ru-RU" sz="800" b="1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в районах Крайнего </a:t>
              </a: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Севера</a:t>
              </a:r>
              <a:endParaRPr lang="ru-RU" sz="800" b="1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051" y="2315359"/>
              <a:ext cx="328399" cy="328399"/>
            </a:xfrm>
            <a:prstGeom prst="rect">
              <a:avLst/>
            </a:prstGeom>
          </p:spPr>
        </p:pic>
      </p:grpSp>
      <p:sp>
        <p:nvSpPr>
          <p:cNvPr id="17" name="TextBox 16"/>
          <p:cNvSpPr txBox="1"/>
          <p:nvPr/>
        </p:nvSpPr>
        <p:spPr>
          <a:xfrm>
            <a:off x="1475656" y="339502"/>
            <a:ext cx="59355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АРАНТИИ И </a:t>
            </a:r>
            <a:r>
              <a:rPr lang="ru-RU" b="1" dirty="0" smtClean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МПЕНСАЦИИ </a:t>
            </a:r>
          </a:p>
          <a:p>
            <a:pPr algn="ctr"/>
            <a:r>
              <a:rPr lang="ru-RU" b="1" dirty="0" smtClean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БОТНИКАМ СФЕРЫ ОБРАЗОВАНИЯ </a:t>
            </a:r>
            <a:endParaRPr lang="ru-RU" b="1" dirty="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53896" y="1174813"/>
            <a:ext cx="4042326" cy="1396937"/>
            <a:chOff x="246581" y="1316507"/>
            <a:chExt cx="4042326" cy="1396937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257270" y="1316507"/>
              <a:ext cx="395469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FF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арантии </a:t>
              </a:r>
              <a:r>
                <a:rPr lang="ru-RU" sz="1200" b="1" dirty="0">
                  <a:solidFill>
                    <a:srgbClr val="FF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 </a:t>
              </a:r>
              <a:r>
                <a:rPr lang="ru-RU" sz="1200" b="1" dirty="0" smtClean="0">
                  <a:solidFill>
                    <a:srgbClr val="FF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омпенсации прибывшим педагогам из других </a:t>
              </a:r>
              <a:r>
                <a:rPr lang="ru-RU" sz="1200" b="1" dirty="0">
                  <a:solidFill>
                    <a:srgbClr val="FF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егионов  </a:t>
              </a:r>
              <a:r>
                <a:rPr lang="ru-RU" sz="1200" b="1" dirty="0" smtClean="0">
                  <a:solidFill>
                    <a:srgbClr val="FF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ссийской Федерации</a:t>
              </a:r>
              <a:endParaRPr lang="ru-RU" sz="1200" b="1" dirty="0">
                <a:solidFill>
                  <a:srgbClr val="FF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0" name="Прямая соединительная линия 19"/>
            <p:cNvCxnSpPr/>
            <p:nvPr/>
          </p:nvCxnSpPr>
          <p:spPr>
            <a:xfrm>
              <a:off x="536351" y="1768257"/>
              <a:ext cx="33965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246581" y="1851670"/>
              <a:ext cx="4042326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Е</a:t>
              </a:r>
              <a:r>
                <a:rPr lang="ru-RU" sz="9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иновременное </a:t>
              </a:r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особие в размере двух должностных окладов и единовременное пособие на каждого прибывающего </a:t>
              </a:r>
              <a:r>
                <a:rPr lang="ru-RU" sz="9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члена </a:t>
              </a:r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емьи в размере половины должностного оклада </a:t>
              </a:r>
              <a:r>
                <a:rPr lang="ru-RU" sz="9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аботника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</a:t>
              </a:r>
              <a:r>
                <a:rPr lang="ru-RU" sz="9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лата </a:t>
              </a:r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тоимости проезда работника и членов его семьи в пределах территории </a:t>
              </a:r>
              <a:r>
                <a:rPr lang="ru-RU" sz="9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Ф, </a:t>
              </a:r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а также стоимости провоза </a:t>
              </a:r>
              <a:r>
                <a:rPr lang="ru-RU" sz="9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багажа</a:t>
              </a:r>
              <a:endPara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4296222" y="1275606"/>
            <a:ext cx="4620903" cy="1341821"/>
            <a:chOff x="4275997" y="1408839"/>
            <a:chExt cx="4608511" cy="1341821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4275997" y="1408839"/>
              <a:ext cx="460851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FF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оциальная поддержка </a:t>
              </a:r>
              <a:r>
                <a:rPr lang="ru-RU" sz="1200" b="1" dirty="0" smtClean="0">
                  <a:solidFill>
                    <a:srgbClr val="FF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молодым специалистам</a:t>
              </a:r>
              <a:endParaRPr lang="ru-RU" sz="1200" b="1" dirty="0">
                <a:solidFill>
                  <a:srgbClr val="FF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5" name="Прямая соединительная линия 24"/>
            <p:cNvCxnSpPr/>
            <p:nvPr/>
          </p:nvCxnSpPr>
          <p:spPr>
            <a:xfrm>
              <a:off x="4881990" y="1780819"/>
              <a:ext cx="33965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4549866" y="1888886"/>
              <a:ext cx="4175001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Единовременное </a:t>
              </a:r>
              <a:r>
                <a:rPr lang="ru-RU" sz="900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пособие молодым </a:t>
              </a:r>
              <a:r>
                <a:rPr lang="ru-RU" sz="900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специалистам</a:t>
              </a:r>
              <a:r>
                <a:rPr lang="ru-RU" sz="900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 </a:t>
              </a:r>
              <a:r>
                <a:rPr lang="ru-RU" sz="900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при </a:t>
              </a:r>
              <a:r>
                <a:rPr lang="ru-RU" sz="900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обязательстве отработать не менее трех лет на педагогической </a:t>
              </a:r>
              <a:r>
                <a:rPr lang="ru-RU" sz="900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должности</a:t>
              </a:r>
              <a:r>
                <a:rPr lang="ru-RU" sz="900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 </a:t>
              </a:r>
              <a:r>
                <a:rPr lang="ru-RU" sz="900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-            100 тыс. рублей</a:t>
              </a:r>
              <a:endParaRPr lang="ru-RU" sz="900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Денежная </a:t>
              </a:r>
              <a:r>
                <a:rPr lang="ru-RU" sz="900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компенсация для возмещения затрат, связанных с наймом </a:t>
              </a:r>
              <a:r>
                <a:rPr lang="ru-RU" sz="900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жилья – 10 тыс. рублей</a:t>
              </a:r>
              <a:endParaRPr lang="ru-RU" sz="900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7380312" y="4083918"/>
            <a:ext cx="1707034" cy="913174"/>
            <a:chOff x="776734" y="2315359"/>
            <a:chExt cx="1707034" cy="913174"/>
          </a:xfrm>
        </p:grpSpPr>
        <p:sp>
          <p:nvSpPr>
            <p:cNvPr id="28" name="TextBox 27"/>
            <p:cNvSpPr txBox="1"/>
            <p:nvPr/>
          </p:nvSpPr>
          <p:spPr>
            <a:xfrm>
              <a:off x="776734" y="2643758"/>
              <a:ext cx="17070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" indent="0" algn="ctr">
                <a:buNone/>
              </a:pP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Ежегодная выплата премии к профессиональному празднику «День учителя» в размере заработной платы</a:t>
              </a:r>
              <a:endParaRPr lang="ru-RU" sz="800" b="1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051" y="2315359"/>
              <a:ext cx="328399" cy="328399"/>
            </a:xfrm>
            <a:prstGeom prst="rect">
              <a:avLst/>
            </a:prstGeom>
          </p:spPr>
        </p:pic>
      </p:grpSp>
      <p:grpSp>
        <p:nvGrpSpPr>
          <p:cNvPr id="32" name="Группа 31"/>
          <p:cNvGrpSpPr/>
          <p:nvPr/>
        </p:nvGrpSpPr>
        <p:grpSpPr>
          <a:xfrm>
            <a:off x="1691680" y="2643758"/>
            <a:ext cx="5629752" cy="1589932"/>
            <a:chOff x="1757124" y="3651870"/>
            <a:chExt cx="5629752" cy="1589932"/>
          </a:xfrm>
        </p:grpSpPr>
        <p:sp>
          <p:nvSpPr>
            <p:cNvPr id="30" name="Прямоугольник 29"/>
            <p:cNvSpPr/>
            <p:nvPr/>
          </p:nvSpPr>
          <p:spPr>
            <a:xfrm>
              <a:off x="2228196" y="3651870"/>
              <a:ext cx="468760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егиональные меры социальной поддержки и </a:t>
              </a:r>
              <a:r>
                <a:rPr lang="ru-RU" sz="1200" dirty="0" smtClean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рограммы</a:t>
              </a:r>
              <a:endParaRPr lang="ru-RU" sz="12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" name="Группа 20"/>
            <p:cNvGrpSpPr/>
            <p:nvPr/>
          </p:nvGrpSpPr>
          <p:grpSpPr>
            <a:xfrm>
              <a:off x="1757124" y="3939902"/>
              <a:ext cx="5629752" cy="1301900"/>
              <a:chOff x="1669238" y="3939902"/>
              <a:chExt cx="5629752" cy="1301900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1669238" y="4026085"/>
                <a:ext cx="5472608" cy="12157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Приобретение 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социальных выплат работникам бюджетной сферы на приобретение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       жилого 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помещения на первичном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рынке до  40% от стоимости жилья</a:t>
                </a:r>
              </a:p>
              <a:p>
                <a:pPr marL="171450" indent="-1714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Предоставление социальных выплат на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приобретение/строительство жилья 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молодым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семьям до 35% от стоимости жилья</a:t>
                </a:r>
              </a:p>
              <a:p>
                <a:pPr marL="171450" indent="-1714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Гранты «Я - воспитатель Ямала»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,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«Новый 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учитель Ямала» 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и «Я - педагог </a:t>
                </a:r>
                <a:r>
                  <a:rPr lang="ru-RU" sz="900" dirty="0" err="1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допобразования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 Ямала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» - 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размер гранта 600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тыс. рублей. </a:t>
                </a:r>
                <a:r>
                  <a:rPr lang="ru-RU" sz="900" dirty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Получатели гранта обеспечиваются служебным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жильем или им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выплачивается компенсация </a:t>
                </a:r>
                <a:r>
                  <a:rPr lang="ru-RU" sz="900" dirty="0" smtClean="0"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части арендной платы.</a:t>
                </a:r>
                <a:endParaRPr lang="ru-RU" sz="900" dirty="0"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2290" name="Picture 2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287" t="40347" r="28495" b="40814"/>
              <a:stretch/>
            </p:blipFill>
            <p:spPr bwMode="auto">
              <a:xfrm>
                <a:off x="6783396" y="3939902"/>
                <a:ext cx="514848" cy="4863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291" name="Picture 3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8235" t="40735" r="26774" b="33320"/>
              <a:stretch/>
            </p:blipFill>
            <p:spPr bwMode="auto">
              <a:xfrm>
                <a:off x="6783396" y="4601372"/>
                <a:ext cx="515594" cy="5019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cxnSp>
          <p:nvCxnSpPr>
            <p:cNvPr id="33" name="Прямая соединительная линия 32"/>
            <p:cNvCxnSpPr/>
            <p:nvPr/>
          </p:nvCxnSpPr>
          <p:spPr>
            <a:xfrm>
              <a:off x="2431200" y="3939902"/>
              <a:ext cx="428160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18" y="2855803"/>
            <a:ext cx="1518137" cy="101209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909" y="2855803"/>
            <a:ext cx="1517840" cy="1012091"/>
          </a:xfrm>
          <a:prstGeom prst="rect">
            <a:avLst/>
          </a:prstGeom>
        </p:spPr>
      </p:pic>
      <p:grpSp>
        <p:nvGrpSpPr>
          <p:cNvPr id="72" name="Группа 71"/>
          <p:cNvGrpSpPr/>
          <p:nvPr/>
        </p:nvGrpSpPr>
        <p:grpSpPr>
          <a:xfrm>
            <a:off x="3718483" y="4199484"/>
            <a:ext cx="1707034" cy="790064"/>
            <a:chOff x="776734" y="2315359"/>
            <a:chExt cx="1707034" cy="790064"/>
          </a:xfrm>
        </p:grpSpPr>
        <p:sp>
          <p:nvSpPr>
            <p:cNvPr id="73" name="TextBox 72"/>
            <p:cNvSpPr txBox="1"/>
            <p:nvPr/>
          </p:nvSpPr>
          <p:spPr>
            <a:xfrm>
              <a:off x="776734" y="2643758"/>
              <a:ext cx="170703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" indent="0" algn="ctr">
                <a:buNone/>
              </a:pP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Заработная плата учителя на 1 ставку</a:t>
              </a:r>
            </a:p>
            <a:p>
              <a:pPr marL="45720" indent="0" algn="ctr">
                <a:buNone/>
              </a:pP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 –</a:t>
              </a:r>
              <a:r>
                <a:rPr lang="ru-RU" sz="800" b="1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 </a:t>
              </a: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от 60 тыс. рублей</a:t>
              </a:r>
            </a:p>
          </p:txBody>
        </p:sp>
        <p:pic>
          <p:nvPicPr>
            <p:cNvPr id="74" name="Рисунок 73"/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051" y="2315359"/>
              <a:ext cx="328399" cy="328399"/>
            </a:xfrm>
            <a:prstGeom prst="rect">
              <a:avLst/>
            </a:prstGeom>
          </p:spPr>
        </p:pic>
      </p:grpSp>
      <p:grpSp>
        <p:nvGrpSpPr>
          <p:cNvPr id="75" name="Группа 74"/>
          <p:cNvGrpSpPr/>
          <p:nvPr/>
        </p:nvGrpSpPr>
        <p:grpSpPr>
          <a:xfrm>
            <a:off x="1933574" y="4213074"/>
            <a:ext cx="1707034" cy="790064"/>
            <a:chOff x="776734" y="2315359"/>
            <a:chExt cx="1707034" cy="790064"/>
          </a:xfrm>
        </p:grpSpPr>
        <p:sp>
          <p:nvSpPr>
            <p:cNvPr id="76" name="TextBox 75"/>
            <p:cNvSpPr txBox="1"/>
            <p:nvPr/>
          </p:nvSpPr>
          <p:spPr>
            <a:xfrm>
              <a:off x="776734" y="2643758"/>
              <a:ext cx="170703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" indent="0" algn="ctr">
                <a:buNone/>
              </a:pP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Заработная плата воспитателя на 1 ставку</a:t>
              </a:r>
            </a:p>
            <a:p>
              <a:pPr marL="45720" indent="0" algn="ctr">
                <a:buNone/>
              </a:pP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 –</a:t>
              </a:r>
              <a:r>
                <a:rPr lang="ru-RU" sz="800" b="1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 </a:t>
              </a:r>
              <a:r>
                <a:rPr lang="ru-RU" sz="800" b="1" dirty="0" smtClean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от 46 тыс. рублей</a:t>
              </a:r>
            </a:p>
          </p:txBody>
        </p:sp>
        <p:pic>
          <p:nvPicPr>
            <p:cNvPr id="77" name="Рисунок 76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051" y="2315359"/>
              <a:ext cx="328399" cy="328399"/>
            </a:xfrm>
            <a:prstGeom prst="rect">
              <a:avLst/>
            </a:prstGeom>
          </p:spPr>
        </p:pic>
      </p:grpSp>
      <p:sp>
        <p:nvSpPr>
          <p:cNvPr id="79" name="TextBox 78"/>
          <p:cNvSpPr txBox="1"/>
          <p:nvPr/>
        </p:nvSpPr>
        <p:spPr>
          <a:xfrm>
            <a:off x="5449004" y="4541473"/>
            <a:ext cx="17070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" indent="0" algn="ctr">
              <a:buNone/>
            </a:pPr>
            <a:r>
              <a:rPr lang="ru-RU" sz="8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Заработная плата педагога </a:t>
            </a:r>
            <a:r>
              <a:rPr lang="ru-RU" sz="800" b="1" dirty="0" err="1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допобразования</a:t>
            </a:r>
            <a:r>
              <a:rPr lang="ru-RU" sz="8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8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на 1 ставку</a:t>
            </a:r>
          </a:p>
          <a:p>
            <a:pPr marL="45720" indent="0" algn="ctr">
              <a:buNone/>
            </a:pPr>
            <a:r>
              <a:rPr lang="ru-RU" sz="8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–</a:t>
            </a:r>
            <a:r>
              <a:rPr lang="ru-RU" sz="8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8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от 65 тыс. рублей</a:t>
            </a: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1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6949" y="4206561"/>
            <a:ext cx="371143" cy="37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873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1215901" y="178643"/>
            <a:ext cx="6712199" cy="1384995"/>
            <a:chOff x="1604217" y="339502"/>
            <a:chExt cx="5935566" cy="1384995"/>
          </a:xfrm>
        </p:grpSpPr>
        <p:sp>
          <p:nvSpPr>
            <p:cNvPr id="17" name="TextBox 16"/>
            <p:cNvSpPr txBox="1"/>
            <p:nvPr/>
          </p:nvSpPr>
          <p:spPr>
            <a:xfrm>
              <a:off x="1604217" y="339502"/>
              <a:ext cx="5935566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chemeClr val="bg2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АБОТА В СИСТЕМЕ </a:t>
              </a:r>
            </a:p>
            <a:p>
              <a:pPr algn="ctr"/>
              <a:r>
                <a:rPr lang="ru-RU" sz="2800" b="1" dirty="0" smtClean="0">
                  <a:solidFill>
                    <a:schemeClr val="bg2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БРАЗОВАНИЯ ГОРОДА САЛЕХАРДА</a:t>
              </a:r>
              <a:endParaRPr lang="ru-RU" sz="28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0" name="Прямая соединительная линия 19"/>
            <p:cNvCxnSpPr/>
            <p:nvPr/>
          </p:nvCxnSpPr>
          <p:spPr>
            <a:xfrm>
              <a:off x="2462728" y="1419622"/>
              <a:ext cx="4218544" cy="0"/>
            </a:xfrm>
            <a:prstGeom prst="line">
              <a:avLst/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737574" y="2040836"/>
            <a:ext cx="766885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зыева Оксана Владимировна, начальник департамента образования города Салехарда,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лефон 8 (</a:t>
            </a:r>
            <a:r>
              <a:rPr lang="ru-RU" sz="1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4922) 3-21-45</a:t>
            </a:r>
            <a:endParaRPr lang="ru-RU" sz="1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lang="ru-RU" sz="1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чта: </a:t>
            </a:r>
            <a:r>
              <a:rPr lang="en-US" sz="1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do@slh.yanao.ru</a:t>
            </a:r>
            <a:endParaRPr lang="ru-RU" sz="12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йт департамента образования города Салехарда </a:t>
            </a:r>
            <a:r>
              <a:rPr lang="en-US" sz="1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http://edu.shd.ru/</a:t>
            </a:r>
            <a:r>
              <a:rPr lang="ru-RU" sz="1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732595" y="3624161"/>
            <a:ext cx="7343632" cy="1519339"/>
            <a:chOff x="732595" y="3394514"/>
            <a:chExt cx="7343632" cy="1519339"/>
          </a:xfrm>
        </p:grpSpPr>
        <p:sp>
          <p:nvSpPr>
            <p:cNvPr id="49" name="TextBox 48"/>
            <p:cNvSpPr txBox="1"/>
            <p:nvPr/>
          </p:nvSpPr>
          <p:spPr>
            <a:xfrm>
              <a:off x="732595" y="3615574"/>
              <a:ext cx="331236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ru-RU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Желающие трудоустроиться в образовательные </a:t>
              </a:r>
              <a:r>
                <a:rPr lang="ru-RU" sz="16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рганизации Салехарда</a:t>
              </a:r>
              <a:r>
                <a:rPr lang="ru-RU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, могут </a:t>
              </a:r>
              <a:r>
                <a:rPr lang="ru-RU" sz="16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полнить анкету</a:t>
              </a:r>
            </a:p>
          </p:txBody>
        </p:sp>
        <p:pic>
          <p:nvPicPr>
            <p:cNvPr id="13314" name="Picture 2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669" t="39886" r="25021" b="33352"/>
            <a:stretch/>
          </p:blipFill>
          <p:spPr bwMode="auto">
            <a:xfrm>
              <a:off x="6228184" y="3394514"/>
              <a:ext cx="1848043" cy="1519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1960" y="3729828"/>
              <a:ext cx="1850949" cy="10937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844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975340" y="4071996"/>
            <a:ext cx="5260956" cy="738664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води камеру смартфона на </a:t>
            </a:r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R-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ы</a:t>
            </a:r>
            <a:r>
              <a: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ли кликай </a:t>
            </a:r>
            <a:r>
              <a:rPr lang="ru-RU" sz="1400" b="1" u="sng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сылки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перехода на источники с интересной и полезной информацией</a:t>
            </a:r>
            <a:endParaRPr lang="ru-RU" sz="14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9827" y="411510"/>
            <a:ext cx="741682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ru-RU" sz="2800" dirty="0" smtClean="0">
                <a:solidFill>
                  <a:schemeClr val="bg2">
                    <a:lumMod val="50000"/>
                  </a:schemeClr>
                </a:solidFill>
              </a:rPr>
              <a:t>ДОБРО ПОЖАЛОВАТЬ В САЛЕХАРД!</a:t>
            </a:r>
            <a:endParaRPr lang="ru-RU" sz="28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04736" y="1131594"/>
            <a:ext cx="8901139" cy="198907"/>
            <a:chOff x="104736" y="1405619"/>
            <a:chExt cx="8901139" cy="198907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 flipV="1">
              <a:off x="104736" y="1493578"/>
              <a:ext cx="3993383" cy="2410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Нашивка 26"/>
            <p:cNvSpPr/>
            <p:nvPr/>
          </p:nvSpPr>
          <p:spPr>
            <a:xfrm rot="5400000">
              <a:off x="4388786" y="1228792"/>
              <a:ext cx="198907" cy="552561"/>
            </a:xfrm>
            <a:prstGeom prst="chevron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cxnSp>
          <p:nvCxnSpPr>
            <p:cNvPr id="32" name="Прямая соединительная линия 31"/>
            <p:cNvCxnSpPr/>
            <p:nvPr/>
          </p:nvCxnSpPr>
          <p:spPr>
            <a:xfrm flipV="1">
              <a:off x="4841093" y="1477804"/>
              <a:ext cx="4164782" cy="2410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Группа 15"/>
          <p:cNvGrpSpPr/>
          <p:nvPr/>
        </p:nvGrpSpPr>
        <p:grpSpPr>
          <a:xfrm>
            <a:off x="192515" y="1491634"/>
            <a:ext cx="8813359" cy="2138417"/>
            <a:chOff x="192516" y="1697831"/>
            <a:chExt cx="6565329" cy="2138417"/>
          </a:xfrm>
        </p:grpSpPr>
        <p:sp>
          <p:nvSpPr>
            <p:cNvPr id="3" name="TextBox 2"/>
            <p:cNvSpPr txBox="1"/>
            <p:nvPr/>
          </p:nvSpPr>
          <p:spPr>
            <a:xfrm>
              <a:off x="192516" y="2902445"/>
              <a:ext cx="1782824" cy="73866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асположение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лимат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кружающая </a:t>
              </a:r>
              <a:r>
                <a:rPr lang="ru-RU" sz="14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реда</a:t>
              </a:r>
              <a:endPara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346509" y="2844139"/>
              <a:ext cx="1919638" cy="7386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ородская среда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емья и дети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Цены и </a:t>
              </a:r>
              <a:r>
                <a:rPr lang="ru-RU" sz="1400" dirty="0" smtClean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магазины</a:t>
              </a:r>
              <a:endPara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728838" y="2882141"/>
              <a:ext cx="1944216" cy="95410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аша работа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7170" name="Picture 2" descr="C:\Users\e.markova\Desktop\РЕЗЮМЕ\фото\иконка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88" r="23254"/>
            <a:stretch/>
          </p:blipFill>
          <p:spPr bwMode="auto">
            <a:xfrm>
              <a:off x="1141543" y="2571011"/>
              <a:ext cx="115371" cy="2805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Прямоугольник 9"/>
            <p:cNvSpPr/>
            <p:nvPr/>
          </p:nvSpPr>
          <p:spPr>
            <a:xfrm>
              <a:off x="192516" y="1707654"/>
              <a:ext cx="2013426" cy="81394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346509" y="1697831"/>
              <a:ext cx="2160240" cy="81394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4673830" y="1707651"/>
              <a:ext cx="2084015" cy="81393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5363" name="Picture 3" descr="C:\Users\e.markova\Desktop\РЕЗЮМЕ\фото\8255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0965" y="2540410"/>
              <a:ext cx="232504" cy="3417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e.markova\Desktop\РЕЗЮМЕ\фото\city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6328" y="2540410"/>
              <a:ext cx="272166" cy="303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95262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1" name="Picture 1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4790" y="2073"/>
            <a:ext cx="9150736" cy="5141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614192"/>
              </p:ext>
            </p:extLst>
          </p:nvPr>
        </p:nvGraphicFramePr>
        <p:xfrm>
          <a:off x="1695" y="-85577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95" y="-85577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813B92A-901B-43A8-99C3-A5E2056FBF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04" fontAlgn="base">
              <a:spcBef>
                <a:spcPct val="0"/>
              </a:spcBef>
              <a:spcAft>
                <a:spcPct val="0"/>
              </a:spcAft>
            </a:pPr>
            <a:endParaRPr lang="ru-RU" sz="3400" b="1" dirty="0" err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14528" y="0"/>
            <a:ext cx="9129472" cy="269567"/>
            <a:chOff x="10925" y="0"/>
            <a:chExt cx="6865332" cy="269567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10925" y="2074"/>
              <a:ext cx="2281009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cap="small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2281009" y="2073"/>
              <a:ext cx="2295357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4576367" y="0"/>
              <a:ext cx="2299890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76456" y="4869657"/>
            <a:ext cx="418728" cy="273844"/>
          </a:xfrm>
        </p:spPr>
        <p:txBody>
          <a:bodyPr/>
          <a:lstStyle/>
          <a:p>
            <a:fld id="{AD40008D-CB5D-42FA-9FE7-B1F5567A5933}" type="slidenum">
              <a:rPr lang="ru-RU" smtClean="0"/>
              <a:t>3</a:t>
            </a:fld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-8851" y="4021693"/>
            <a:ext cx="8973339" cy="1117760"/>
          </a:xfrm>
          <a:prstGeom prst="rect">
            <a:avLst/>
          </a:prstGeom>
          <a:solidFill>
            <a:srgbClr val="192E47">
              <a:alpha val="9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8" name="Title 7"/>
          <p:cNvSpPr>
            <a:spLocks noGrp="1"/>
          </p:cNvSpPr>
          <p:nvPr>
            <p:ph type="ctrTitle" idx="4294967295"/>
          </p:nvPr>
        </p:nvSpPr>
        <p:spPr bwMode="gray">
          <a:xfrm>
            <a:off x="179512" y="4021697"/>
            <a:ext cx="3960440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indent="0" algn="l" defTabSz="913571" fontAlgn="base">
              <a:spcAft>
                <a:spcPct val="0"/>
              </a:spcAft>
              <a:buNone/>
              <a:tabLst>
                <a:tab pos="275367" algn="l"/>
              </a:tabLst>
            </a:pPr>
            <a:r>
              <a:rPr lang="ru-RU" sz="2400" dirty="0" smtClean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САЛЕХАРД – </a:t>
            </a:r>
            <a:r>
              <a:rPr lang="ru-RU" sz="240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240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000" dirty="0" smtClean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единственный в мире город на Полярном круге</a:t>
            </a:r>
            <a:endParaRPr lang="ru-RU" sz="200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87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6" t="25644" r="35517" b="13931"/>
          <a:stretch/>
        </p:blipFill>
        <p:spPr bwMode="auto">
          <a:xfrm>
            <a:off x="44205" y="915567"/>
            <a:ext cx="4240294" cy="2928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712928"/>
              </p:ext>
            </p:extLst>
          </p:nvPr>
        </p:nvGraphicFramePr>
        <p:xfrm>
          <a:off x="395536" y="3395151"/>
          <a:ext cx="3888431" cy="1604010"/>
        </p:xfrm>
        <a:graphic>
          <a:graphicData uri="http://schemas.openxmlformats.org/drawingml/2006/table">
            <a:tbl>
              <a:tblPr firstCol="1">
                <a:tableStyleId>{2D5ABB26-0587-4C30-8999-92F81FD0307C}</a:tableStyleId>
              </a:tblPr>
              <a:tblGrid>
                <a:gridCol w="9537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184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614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6098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правления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Цена </a:t>
                      </a:r>
                      <a:r>
                        <a:rPr lang="ru-RU" sz="8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билета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Расписание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Длительность полета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осква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effectLst/>
                        </a:rPr>
                        <a:t>9 </a:t>
                      </a:r>
                      <a:r>
                        <a:rPr lang="ru-RU" sz="800" u="none" strike="noStrike" dirty="0">
                          <a:effectLst/>
                        </a:rPr>
                        <a:t>5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err="1">
                          <a:effectLst/>
                        </a:rPr>
                        <a:t>пн</a:t>
                      </a:r>
                      <a:r>
                        <a:rPr lang="ru-RU" sz="800" u="none" strike="noStrike" dirty="0">
                          <a:effectLst/>
                        </a:rPr>
                        <a:t> - </a:t>
                      </a:r>
                      <a:r>
                        <a:rPr lang="ru-RU" sz="800" u="none" strike="noStrike" dirty="0" err="1">
                          <a:effectLst/>
                        </a:rPr>
                        <a:t>вс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 ч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Санкт-Петербург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effectLst/>
                        </a:rPr>
                        <a:t>7 </a:t>
                      </a:r>
                      <a:r>
                        <a:rPr lang="ru-RU" sz="800" u="none" strike="noStrike" dirty="0">
                          <a:effectLst/>
                        </a:rPr>
                        <a:t>0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ср, </a:t>
                      </a:r>
                      <a:r>
                        <a:rPr lang="ru-RU" sz="800" u="none" strike="noStrike" dirty="0" err="1">
                          <a:effectLst/>
                        </a:rPr>
                        <a:t>пт</a:t>
                      </a:r>
                      <a:r>
                        <a:rPr lang="ru-RU" sz="800" u="none" strike="noStrike" dirty="0">
                          <a:effectLst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</a:rPr>
                        <a:t>вс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 ч 10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Екатеринбург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7 0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err="1">
                          <a:effectLst/>
                        </a:rPr>
                        <a:t>пн</a:t>
                      </a:r>
                      <a:r>
                        <a:rPr lang="ru-RU" sz="800" u="none" strike="noStrike" dirty="0">
                          <a:effectLst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</a:rPr>
                        <a:t>пт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ч 50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Тюмень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7 0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err="1">
                          <a:effectLst/>
                        </a:rPr>
                        <a:t>пн</a:t>
                      </a:r>
                      <a:r>
                        <a:rPr lang="ru-RU" sz="800" u="none" strike="noStrike" dirty="0">
                          <a:effectLst/>
                        </a:rPr>
                        <a:t> - </a:t>
                      </a:r>
                      <a:r>
                        <a:rPr lang="ru-RU" sz="800" u="none" strike="noStrike" dirty="0" err="1">
                          <a:effectLst/>
                        </a:rPr>
                        <a:t>вс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 ч 35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Сочи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9 9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err="1">
                          <a:effectLst/>
                        </a:rPr>
                        <a:t>пн</a:t>
                      </a:r>
                      <a:r>
                        <a:rPr lang="ru-RU" sz="800" u="none" strike="noStrike" dirty="0">
                          <a:effectLst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</a:rPr>
                        <a:t>пт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4 ч 20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Симферополь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9 9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ср, </a:t>
                      </a:r>
                      <a:r>
                        <a:rPr lang="ru-RU" sz="800" u="none" strike="noStrike" dirty="0" err="1">
                          <a:effectLst/>
                        </a:rPr>
                        <a:t>вс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4 ч 30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овосибирск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7 0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err="1">
                          <a:effectLst/>
                        </a:rPr>
                        <a:t>сб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2 ч 10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Омск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7 0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err="1">
                          <a:effectLst/>
                        </a:rPr>
                        <a:t>вт</a:t>
                      </a:r>
                      <a:r>
                        <a:rPr lang="ru-RU" sz="800" u="none" strike="noStrike" dirty="0">
                          <a:effectLst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</a:rPr>
                        <a:t>чт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2 ч 5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Уфа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7 000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err="1">
                          <a:effectLst/>
                        </a:rPr>
                        <a:t>вт</a:t>
                      </a:r>
                      <a:r>
                        <a:rPr lang="ru-RU" sz="800" u="none" strike="noStrike" dirty="0">
                          <a:effectLst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</a:rPr>
                        <a:t>чт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2 ч 25 м</a:t>
                      </a:r>
                      <a:endParaRPr lang="ru-RU" sz="8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2551843" y="401747"/>
            <a:ext cx="4302653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ЛЕХАРД – БЛИЖЕ, ЧЕМ ТЫ ДУМАЕШЬ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355976" y="915566"/>
            <a:ext cx="0" cy="4104456"/>
          </a:xfrm>
          <a:prstGeom prst="line">
            <a:avLst/>
          </a:prstGeom>
          <a:ln w="12700" cmpd="sng">
            <a:solidFill>
              <a:schemeClr val="bg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78051" y="915570"/>
            <a:ext cx="30307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ямые авиарейсы из Салехарда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78053" y="1223343"/>
            <a:ext cx="4005917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4463455" y="915569"/>
            <a:ext cx="3516513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лимат и окружающая среда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4414163" y="1223343"/>
            <a:ext cx="4406317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6434854" y="2300236"/>
            <a:ext cx="2527359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/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600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часов в год </a:t>
            </a:r>
          </a:p>
          <a:p>
            <a:pPr marL="85725"/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в Санкт- Петербурге и Праге</a:t>
            </a:r>
          </a:p>
        </p:txBody>
      </p:sp>
      <p:pic>
        <p:nvPicPr>
          <p:cNvPr id="16387" name="Picture 3" descr="C:\Users\e.markova\Desktop\РЕЗЮМЕ\фото\b13d5cda2200c4c4624f24435fd21175_src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9902" y="1343211"/>
            <a:ext cx="959689" cy="753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7621864" y="1278363"/>
            <a:ext cx="377722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r>
              <a:rPr lang="ru-RU" sz="1000" b="1" dirty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17°С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962336" y="1730800"/>
            <a:ext cx="377722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r>
              <a:rPr lang="ru-RU" sz="105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–24°С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451734" y="1432251"/>
            <a:ext cx="6511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Январь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046630" y="1440884"/>
            <a:ext cx="5501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юль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450685" y="1347615"/>
            <a:ext cx="1771018" cy="78550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няя температура воздуха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4463447" y="2300240"/>
            <a:ext cx="1771018" cy="78509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личество солнечных часов в году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4475416" y="3261555"/>
            <a:ext cx="1771018" cy="76642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истый воздух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485229" y="4197156"/>
            <a:ext cx="1771018" cy="76642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истая вод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7321556" y="3270926"/>
            <a:ext cx="18224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родов России по чистоте воздух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545205" y="3270922"/>
            <a:ext cx="88017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п-5</a:t>
            </a:r>
            <a:endParaRPr lang="ru-RU" sz="2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545205" y="3683125"/>
            <a:ext cx="258810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данные аналитического центра «Эксперт»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617321" y="4227934"/>
            <a:ext cx="8499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0%</a:t>
            </a:r>
            <a:endParaRPr lang="ru-RU" sz="2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414617" y="4197160"/>
            <a:ext cx="18224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ответствие нормативам качеств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573835" y="4620752"/>
            <a:ext cx="233096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данные </a:t>
            </a:r>
            <a:r>
              <a:rPr lang="ru-RU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потребнадзора</a:t>
            </a: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 ЯНАО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4463455" y="2206914"/>
            <a:ext cx="439128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V="1">
            <a:off x="323528" y="5020022"/>
            <a:ext cx="4032448" cy="576"/>
          </a:xfrm>
          <a:prstGeom prst="line">
            <a:avLst/>
          </a:prstGeom>
          <a:ln w="12700" cmpd="sng">
            <a:solidFill>
              <a:schemeClr val="bg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4474552" y="3150092"/>
            <a:ext cx="439128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4474551" y="4097250"/>
            <a:ext cx="439128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3275856" y="1892383"/>
            <a:ext cx="720080" cy="487589"/>
          </a:xfrm>
          <a:prstGeom prst="rect">
            <a:avLst/>
          </a:prstGeom>
          <a:solidFill>
            <a:schemeClr val="bg1"/>
          </a:solidFill>
          <a:ln w="3175">
            <a:solidFill>
              <a:srgbClr val="4682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rgbClr val="6095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асовой пояс МСК+2</a:t>
            </a:r>
          </a:p>
        </p:txBody>
      </p:sp>
      <p:grpSp>
        <p:nvGrpSpPr>
          <p:cNvPr id="42" name="Группа 41"/>
          <p:cNvGrpSpPr/>
          <p:nvPr/>
        </p:nvGrpSpPr>
        <p:grpSpPr>
          <a:xfrm>
            <a:off x="0" y="0"/>
            <a:ext cx="9144000" cy="269567"/>
            <a:chOff x="0" y="0"/>
            <a:chExt cx="6876257" cy="269567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0" y="1"/>
              <a:ext cx="2281009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cap="small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2281009" y="2073"/>
              <a:ext cx="2295357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4576367" y="0"/>
              <a:ext cx="2299890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334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7037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1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Прямоугольник 49"/>
          <p:cNvSpPr/>
          <p:nvPr/>
        </p:nvSpPr>
        <p:spPr>
          <a:xfrm>
            <a:off x="2093438" y="2562059"/>
            <a:ext cx="2222043" cy="864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267440" y="269567"/>
            <a:ext cx="86409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АЛЕХАРД – КРАСИВЫЙ ГОРОД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902932" y="2990234"/>
            <a:ext cx="26603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7"/>
              </a:rPr>
              <a:t>Виртуальные экскурсии </a:t>
            </a:r>
          </a:p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7"/>
              </a:rPr>
              <a:t>по Салехарду </a:t>
            </a:r>
            <a:endParaRPr lang="ru-RU" sz="1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2124533" y="4025584"/>
            <a:ext cx="2220420" cy="924038"/>
            <a:chOff x="-930630" y="3563564"/>
            <a:chExt cx="2220420" cy="924038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-930630" y="3563564"/>
              <a:ext cx="2220420" cy="9240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-895655" y="3570169"/>
              <a:ext cx="2147223" cy="3847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00B0F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Топ-5</a:t>
              </a:r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в рейтинге акции</a:t>
              </a:r>
            </a:p>
            <a:p>
              <a:pPr algn="ctr"/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#</a:t>
              </a:r>
              <a:r>
                <a:rPr lang="ru-RU" sz="900" dirty="0" err="1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овыйГодВРоссии</a:t>
              </a:r>
              <a:endPara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6" name="Прямая соединительная линия 5"/>
          <p:cNvCxnSpPr/>
          <p:nvPr/>
        </p:nvCxnSpPr>
        <p:spPr>
          <a:xfrm>
            <a:off x="416473" y="2139702"/>
            <a:ext cx="3867495" cy="0"/>
          </a:xfrm>
          <a:prstGeom prst="line">
            <a:avLst/>
          </a:prstGeom>
          <a:ln w="31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416473" y="3651870"/>
            <a:ext cx="3867495" cy="0"/>
          </a:xfrm>
          <a:prstGeom prst="line">
            <a:avLst/>
          </a:prstGeom>
          <a:ln w="31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114907" y="2670876"/>
            <a:ext cx="214537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гуляйся по городу на </a:t>
            </a:r>
            <a:r>
              <a:rPr lang="en-US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alekhard360.ru</a:t>
            </a: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2027147" y="958258"/>
            <a:ext cx="2274146" cy="1032852"/>
            <a:chOff x="403533" y="1104068"/>
            <a:chExt cx="2274146" cy="901175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403533" y="1104068"/>
              <a:ext cx="2274146" cy="9011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29584" y="1344104"/>
              <a:ext cx="2222043" cy="3222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усть знакомство с городом начнется с этого видео:</a:t>
              </a:r>
            </a:p>
          </p:txBody>
        </p:sp>
      </p:grpSp>
      <p:sp>
        <p:nvSpPr>
          <p:cNvPr id="13" name="Прямоугольник 12"/>
          <p:cNvSpPr/>
          <p:nvPr/>
        </p:nvSpPr>
        <p:spPr>
          <a:xfrm>
            <a:off x="4553914" y="2570849"/>
            <a:ext cx="15841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РКТОРИУМ</a:t>
            </a:r>
          </a:p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Центр истории и развития Арктики на набережной города</a:t>
            </a:r>
          </a:p>
        </p:txBody>
      </p:sp>
      <p:sp>
        <p:nvSpPr>
          <p:cNvPr id="36" name="Прямоугольник 35"/>
          <p:cNvSpPr/>
          <p:nvPr/>
        </p:nvSpPr>
        <p:spPr>
          <a:xfrm rot="5400000">
            <a:off x="2085442" y="-1361642"/>
            <a:ext cx="229506" cy="420219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ше настоящее</a:t>
            </a: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" t="18720" r="20208" b="10833"/>
          <a:stretch/>
        </p:blipFill>
        <p:spPr bwMode="auto">
          <a:xfrm>
            <a:off x="6154538" y="2220461"/>
            <a:ext cx="2456257" cy="13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4576366" y="2138654"/>
            <a:ext cx="4028082" cy="0"/>
          </a:xfrm>
          <a:prstGeom prst="line">
            <a:avLst/>
          </a:prstGeom>
          <a:ln w="31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0"/>
          <p:cNvGrpSpPr/>
          <p:nvPr/>
        </p:nvGrpSpPr>
        <p:grpSpPr>
          <a:xfrm rot="16200000">
            <a:off x="2320394" y="2819753"/>
            <a:ext cx="4173464" cy="211658"/>
            <a:chOff x="104736" y="1226062"/>
            <a:chExt cx="8901139" cy="583235"/>
          </a:xfrm>
        </p:grpSpPr>
        <p:cxnSp>
          <p:nvCxnSpPr>
            <p:cNvPr id="42" name="Прямая соединительная линия 41"/>
            <p:cNvCxnSpPr/>
            <p:nvPr/>
          </p:nvCxnSpPr>
          <p:spPr>
            <a:xfrm flipV="1">
              <a:off x="104736" y="1493578"/>
              <a:ext cx="3993383" cy="2410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Нашивка 42"/>
            <p:cNvSpPr/>
            <p:nvPr/>
          </p:nvSpPr>
          <p:spPr>
            <a:xfrm rot="5400000">
              <a:off x="4238381" y="1117995"/>
              <a:ext cx="583235" cy="799369"/>
            </a:xfrm>
            <a:prstGeom prst="chevron">
              <a:avLst>
                <a:gd name="adj" fmla="val 47062"/>
              </a:avLst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 flipV="1">
              <a:off x="4841093" y="1477804"/>
              <a:ext cx="4164782" cy="2410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5" name="Прямая соединительная линия 44"/>
          <p:cNvCxnSpPr/>
          <p:nvPr/>
        </p:nvCxnSpPr>
        <p:spPr>
          <a:xfrm>
            <a:off x="4527422" y="3651870"/>
            <a:ext cx="4028082" cy="0"/>
          </a:xfrm>
          <a:prstGeom prst="line">
            <a:avLst/>
          </a:prstGeom>
          <a:ln w="31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675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3" t="28566" r="22533" b="15725"/>
          <a:stretch/>
        </p:blipFill>
        <p:spPr bwMode="auto">
          <a:xfrm>
            <a:off x="6154530" y="812376"/>
            <a:ext cx="2449918" cy="1254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4479708" y="1088703"/>
            <a:ext cx="15841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БЕРЕЖНАЯ </a:t>
            </a:r>
          </a:p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рода Салехард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4591044" y="4122119"/>
            <a:ext cx="158417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ХРАМ</a:t>
            </a:r>
            <a:r>
              <a:rPr lang="ru-RU" sz="1000" u="sng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ображения Господня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6154530" y="3759537"/>
            <a:ext cx="2449918" cy="1254109"/>
            <a:chOff x="6154530" y="3759533"/>
            <a:chExt cx="2449918" cy="1254109"/>
          </a:xfrm>
        </p:grpSpPr>
        <p:pic>
          <p:nvPicPr>
            <p:cNvPr id="54" name="Рисунок 53"/>
            <p:cNvPicPr/>
            <p:nvPr/>
          </p:nvPicPr>
          <p:blipFill rotWithShape="1">
            <a:blip r:embed="rId10"/>
            <a:srcRect l="23363" t="25278" r="33670" b="30958"/>
            <a:stretch/>
          </p:blipFill>
          <p:spPr>
            <a:xfrm>
              <a:off x="6154530" y="3759533"/>
              <a:ext cx="2449918" cy="1254109"/>
            </a:xfrm>
            <a:prstGeom prst="rect">
              <a:avLst/>
            </a:prstGeom>
          </p:spPr>
        </p:pic>
        <p:pic>
          <p:nvPicPr>
            <p:cNvPr id="28676" name="Picture 4" descr="C:\Users\e.markova\Desktop\РЕЗЮМЕ\фото\храм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8005" y="4511623"/>
              <a:ext cx="467499" cy="467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Группа 18"/>
          <p:cNvGrpSpPr/>
          <p:nvPr/>
        </p:nvGrpSpPr>
        <p:grpSpPr>
          <a:xfrm>
            <a:off x="104647" y="849162"/>
            <a:ext cx="1816781" cy="1231780"/>
            <a:chOff x="2929424" y="812372"/>
            <a:chExt cx="1157613" cy="751265"/>
          </a:xfrm>
        </p:grpSpPr>
        <p:grpSp>
          <p:nvGrpSpPr>
            <p:cNvPr id="8210" name="Группа 8209"/>
            <p:cNvGrpSpPr/>
            <p:nvPr/>
          </p:nvGrpSpPr>
          <p:grpSpPr>
            <a:xfrm>
              <a:off x="2929424" y="812372"/>
              <a:ext cx="1157613" cy="751265"/>
              <a:chOff x="2583760" y="2047599"/>
              <a:chExt cx="1452439" cy="850882"/>
            </a:xfrm>
          </p:grpSpPr>
          <p:pic>
            <p:nvPicPr>
              <p:cNvPr id="15364" name="Picture 4">
                <a:hlinkClick r:id="rId12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075" t="15202" r="28433" b="22473"/>
              <a:stretch/>
            </p:blipFill>
            <p:spPr bwMode="auto">
              <a:xfrm>
                <a:off x="2583760" y="2047599"/>
                <a:ext cx="1452439" cy="8508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6" name="Picture 7" descr="C:\Users\e.markova\Desktop\РЕЗЮМЕ\фото\play-button.png">
                <a:hlinkClick r:id="rId12"/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92447" y="2331575"/>
                <a:ext cx="236240" cy="2362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8195" name="Picture 3" descr="C:\Users\e.markova\Desktop\РЕЗЮМЕ\фото\qr-code-polet-shd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5046" y="1202497"/>
              <a:ext cx="301568" cy="301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Группа 15"/>
          <p:cNvGrpSpPr/>
          <p:nvPr/>
        </p:nvGrpSpPr>
        <p:grpSpPr>
          <a:xfrm>
            <a:off x="128397" y="2492041"/>
            <a:ext cx="1874272" cy="963584"/>
            <a:chOff x="2933948" y="2361447"/>
            <a:chExt cx="1238217" cy="627602"/>
          </a:xfrm>
        </p:grpSpPr>
        <p:grpSp>
          <p:nvGrpSpPr>
            <p:cNvPr id="8211" name="Группа 8210"/>
            <p:cNvGrpSpPr/>
            <p:nvPr/>
          </p:nvGrpSpPr>
          <p:grpSpPr>
            <a:xfrm>
              <a:off x="2933948" y="2361447"/>
              <a:ext cx="1238217" cy="627602"/>
              <a:chOff x="2447648" y="3847631"/>
              <a:chExt cx="1508410" cy="749852"/>
            </a:xfrm>
          </p:grpSpPr>
          <p:pic>
            <p:nvPicPr>
              <p:cNvPr id="8206" name="Picture 2">
                <a:hlinkClick r:id="rId7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98" t="14952" r="1770" b="8667"/>
              <a:stretch/>
            </p:blipFill>
            <p:spPr bwMode="auto">
              <a:xfrm>
                <a:off x="2447648" y="3847631"/>
                <a:ext cx="1508410" cy="7498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5" name="Picture 7" descr="C:\Users\e.markova\Desktop\РЕЗЮМЕ\фото\play-button.png">
                <a:hlinkClick r:id="rId7"/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3725" y="4096808"/>
                <a:ext cx="216255" cy="2162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8196" name="Picture 4" descr="C:\Users\e.markova\Desktop\РЕЗЮМЕ\фото\qr-code-shd360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1872" y="2657481"/>
              <a:ext cx="320293" cy="317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Группа 19"/>
          <p:cNvGrpSpPr/>
          <p:nvPr/>
        </p:nvGrpSpPr>
        <p:grpSpPr>
          <a:xfrm>
            <a:off x="135471" y="3872096"/>
            <a:ext cx="1891676" cy="1061547"/>
            <a:chOff x="2933950" y="3795886"/>
            <a:chExt cx="1238216" cy="698509"/>
          </a:xfrm>
        </p:grpSpPr>
        <p:grpSp>
          <p:nvGrpSpPr>
            <p:cNvPr id="8212" name="Группа 8211"/>
            <p:cNvGrpSpPr/>
            <p:nvPr/>
          </p:nvGrpSpPr>
          <p:grpSpPr>
            <a:xfrm>
              <a:off x="2933950" y="3795886"/>
              <a:ext cx="1238216" cy="698509"/>
              <a:chOff x="6948264" y="3495905"/>
              <a:chExt cx="1507873" cy="817158"/>
            </a:xfrm>
          </p:grpSpPr>
          <p:pic>
            <p:nvPicPr>
              <p:cNvPr id="15365" name="Picture 5">
                <a:hlinkClick r:id="rId19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44" t="15500" r="28601" b="28476"/>
              <a:stretch/>
            </p:blipFill>
            <p:spPr bwMode="auto">
              <a:xfrm>
                <a:off x="6948264" y="3495905"/>
                <a:ext cx="1507873" cy="8171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367" name="Picture 7" descr="C:\Users\e.markova\Desktop\РЕЗЮМЕ\фото\play-button.png">
                <a:hlinkClick r:id="rId19"/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80167" y="3801994"/>
                <a:ext cx="204980" cy="2049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8194" name="Picture 2" descr="C:\Users\e.markova\Desktop\РЕЗЮМЕ\фото\qr-code-ng-shd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8798" y="4154487"/>
              <a:ext cx="333366" cy="333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Прямоугольник 36"/>
          <p:cNvSpPr/>
          <p:nvPr/>
        </p:nvSpPr>
        <p:spPr>
          <a:xfrm rot="16200000">
            <a:off x="6424576" y="-1304950"/>
            <a:ext cx="229506" cy="412126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 anchorCtr="1"/>
          <a:lstStyle/>
          <a:p>
            <a:pPr algn="ctr"/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ше будущее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09135" y="1588361"/>
            <a:ext cx="13388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2"/>
              </a:rPr>
              <a:t>Салехард с высоты </a:t>
            </a:r>
          </a:p>
          <a:p>
            <a:pPr algn="ctr"/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2"/>
              </a:rPr>
              <a:t>птичьего полета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61452" y="4511627"/>
            <a:ext cx="24806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9"/>
              </a:rPr>
              <a:t>Новогодний Салехард</a:t>
            </a:r>
            <a:endParaRPr lang="ru-RU" sz="1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7" name="Группа 56"/>
          <p:cNvGrpSpPr/>
          <p:nvPr/>
        </p:nvGrpSpPr>
        <p:grpSpPr>
          <a:xfrm>
            <a:off x="2" y="0"/>
            <a:ext cx="9143999" cy="271642"/>
            <a:chOff x="-12794" y="-2074"/>
            <a:chExt cx="6876256" cy="271642"/>
          </a:xfrm>
        </p:grpSpPr>
        <p:sp>
          <p:nvSpPr>
            <p:cNvPr id="58" name="Прямоугольник 57"/>
            <p:cNvSpPr/>
            <p:nvPr/>
          </p:nvSpPr>
          <p:spPr>
            <a:xfrm>
              <a:off x="2295358" y="-2073"/>
              <a:ext cx="2281009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-12794" y="-2074"/>
              <a:ext cx="2311204" cy="27164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4576367" y="0"/>
              <a:ext cx="2287095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647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Прямоугольник 65"/>
          <p:cNvSpPr/>
          <p:nvPr/>
        </p:nvSpPr>
        <p:spPr>
          <a:xfrm>
            <a:off x="2571151" y="4117950"/>
            <a:ext cx="3292727" cy="9058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2571160" y="3080211"/>
            <a:ext cx="3292727" cy="9085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2571161" y="2030150"/>
            <a:ext cx="3292727" cy="9058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2575425" y="937798"/>
            <a:ext cx="3292727" cy="9111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 61"/>
          <p:cNvSpPr/>
          <p:nvPr/>
        </p:nvSpPr>
        <p:spPr>
          <a:xfrm>
            <a:off x="282008" y="4119541"/>
            <a:ext cx="2323435" cy="9111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280645" y="3077613"/>
            <a:ext cx="2294772" cy="9111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82007" y="2030150"/>
            <a:ext cx="2294773" cy="9058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2007" y="937798"/>
            <a:ext cx="2294772" cy="9111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6015702" y="4190181"/>
            <a:ext cx="1413570" cy="788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981977" y="3121439"/>
            <a:ext cx="1413570" cy="894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5995289" y="2061014"/>
            <a:ext cx="1386957" cy="875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985646" y="937798"/>
            <a:ext cx="1396601" cy="9111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15701" y="1101312"/>
            <a:ext cx="12686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Этнофестиваль </a:t>
            </a:r>
            <a:br>
              <a:rPr lang="ru-RU" sz="1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</a:br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«День оленевода</a:t>
            </a:r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»</a:t>
            </a:r>
            <a:endParaRPr lang="ru-RU" sz="1000" dirty="0" smtClean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МАРТ)</a:t>
            </a:r>
            <a:endParaRPr lang="ru-RU" sz="1000" dirty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128555" y="5068034"/>
            <a:ext cx="878497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2605442" y="4212869"/>
            <a:ext cx="257239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инозал сети «Премьер зал» (</a:t>
            </a:r>
            <a:r>
              <a:rPr lang="en-US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-D, </a:t>
            </a: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-</a:t>
            </a:r>
            <a:r>
              <a:rPr lang="en-US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)</a:t>
            </a:r>
            <a:endParaRPr lang="ru-RU" sz="9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фе-бар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оулинг</a:t>
            </a:r>
          </a:p>
        </p:txBody>
      </p:sp>
      <p:pic>
        <p:nvPicPr>
          <p:cNvPr id="27650" name="Picture 2" descr="C:\Users\e.markova\Desktop\РЕЗЮМЕ\фото\логотипы\logo.pn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0"/>
                    </a14:imgEffect>
                    <a14:imgEffect>
                      <a14:brightnessContrast bright="-45000" contrast="-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755" y="1222115"/>
            <a:ext cx="1270195" cy="279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2522032" y="962457"/>
            <a:ext cx="34497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астрольные спектакли и концерты современных исполнителей </a:t>
            </a:r>
            <a:endParaRPr lang="en-US" sz="9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давно у нас выступали: Симфонический оркестр Мариинского театра (</a:t>
            </a:r>
            <a:r>
              <a:rPr lang="ru-RU" sz="900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.Гергиев</a:t>
            </a: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, группа Пицца, </a:t>
            </a:r>
            <a:r>
              <a:rPr lang="ru-RU" sz="900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.Агутин</a:t>
            </a: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-up</a:t>
            </a: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 другие</a:t>
            </a:r>
          </a:p>
        </p:txBody>
      </p:sp>
      <p:pic>
        <p:nvPicPr>
          <p:cNvPr id="27651" name="Picture 3" descr="C:\Users\e.markova\Desktop\РЕЗЮМЕ\фото\логотипы\images (1)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05" t="36546" r="37195" b="33573"/>
          <a:stretch/>
        </p:blipFill>
        <p:spPr bwMode="auto">
          <a:xfrm>
            <a:off x="639032" y="2387167"/>
            <a:ext cx="385455" cy="250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2522032" y="2120089"/>
            <a:ext cx="339097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аеведческие, исторические, современные и гастрольные экспозиции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стер-классы для детей и взрослых: арт-терапия, фото-студия, прикладное творчество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09810" y="2243199"/>
            <a:ext cx="145037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8"/>
              </a:rPr>
              <a:t>Музейно-выставочный комплекс </a:t>
            </a:r>
            <a:b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8"/>
              </a:rPr>
            </a:b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8"/>
              </a:rPr>
              <a:t>им. </a:t>
            </a:r>
            <a:r>
              <a:rPr lang="ru-RU" sz="900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8"/>
              </a:rPr>
              <a:t>И.С.Шемановского</a:t>
            </a:r>
            <a:endParaRPr lang="ru-RU" sz="9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913002" y="905812"/>
            <a:ext cx="0" cy="413969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52" name="Picture 4" descr="C:\Users\e.markova\Desktop\РЕЗЮМЕ\фото\логотипы\7eeb68934bcbd6c81b2c62e16b082c52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35" r="39162" b="50000"/>
          <a:stretch/>
        </p:blipFill>
        <p:spPr bwMode="auto">
          <a:xfrm>
            <a:off x="709024" y="3408865"/>
            <a:ext cx="300784" cy="248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3" name="Picture 5" descr="C:\Users\e.markova\Desktop\РЕЗЮМЕ\фото\логотипы\7eeb68934bcbd6c81b2c62e16b082c52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45" t="52879" r="13784" b="10181"/>
          <a:stretch/>
        </p:blipFill>
        <p:spPr bwMode="auto">
          <a:xfrm>
            <a:off x="1029809" y="3433933"/>
            <a:ext cx="1159345" cy="25538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8" name="TextBox 57"/>
          <p:cNvSpPr txBox="1"/>
          <p:nvPr/>
        </p:nvSpPr>
        <p:spPr>
          <a:xfrm>
            <a:off x="2576787" y="3077615"/>
            <a:ext cx="3291365" cy="9387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ниги в </a:t>
            </a:r>
            <a:r>
              <a:rPr lang="ru-RU" sz="900" b="1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т</a:t>
            </a:r>
            <a:r>
              <a:rPr lang="ru-RU" sz="900" b="1" dirty="0" err="1">
                <a:solidFill>
                  <a:srgbClr val="FF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с</a:t>
            </a:r>
            <a:r>
              <a:rPr lang="ru-RU" sz="9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бесплатно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тречи с авторами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черние мероприятия закрытого формата с обсуждением интересных книг, лекциями о винах и дегустациями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-6869" y="267494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ЛЕХАРД – ГОРОД ДЛЯ ОТДЫХА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395536" y="644564"/>
            <a:ext cx="2390132" cy="2222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1"/>
          <a:lstStyle/>
          <a:p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ультура</a:t>
            </a:r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>
            <a:off x="488795" y="877922"/>
            <a:ext cx="281691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55" name="Picture 7" descr="C:\Users\e.markova\Desktop\РЕЗЮМЕ\фото\кдц код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645" y="937795"/>
            <a:ext cx="335222" cy="335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4" name="Прямая соединительная линия 93"/>
          <p:cNvCxnSpPr/>
          <p:nvPr/>
        </p:nvCxnSpPr>
        <p:spPr>
          <a:xfrm>
            <a:off x="6673269" y="876816"/>
            <a:ext cx="116210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56" name="Picture 8" descr="C:\Users\e.markova\Desktop\РЕЗЮМЕ\фото\МВК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867" y="2030150"/>
            <a:ext cx="357017" cy="35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7" name="Picture 9" descr="C:\Users\e.markova\Desktop\РЕЗЮМЕ\фото\библиотека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12" y="3077609"/>
            <a:ext cx="351162" cy="35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Прямоугольник 98"/>
          <p:cNvSpPr/>
          <p:nvPr/>
        </p:nvSpPr>
        <p:spPr>
          <a:xfrm>
            <a:off x="6356625" y="666575"/>
            <a:ext cx="1795393" cy="2102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1"/>
          <a:lstStyle/>
          <a:p>
            <a:r>
              <a:rPr lang="en-US" sz="1000" dirty="0">
                <a:solidFill>
                  <a:schemeClr val="dk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pen-air</a:t>
            </a:r>
            <a:r>
              <a:rPr lang="ru-RU" sz="1000" dirty="0">
                <a:solidFill>
                  <a:schemeClr val="dk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формат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5971780" y="2312449"/>
            <a:ext cx="12686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4"/>
              </a:rPr>
              <a:t>Чемпионат по зимней </a:t>
            </a:r>
            <a:r>
              <a:rPr lang="ru-RU" sz="900" dirty="0" smtClean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4"/>
              </a:rPr>
              <a:t>рыбалке</a:t>
            </a:r>
            <a:endParaRPr lang="ru-RU" sz="900" dirty="0" smtClean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900" dirty="0" smtClean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ФЕВРАЛЬ – МАРТ)</a:t>
            </a:r>
            <a:endParaRPr lang="ru-RU" sz="900" dirty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2" descr="C:\Users\e.markova\Desktop\РЕЗЮМЕ\фото\рыбалка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20" y="4119541"/>
            <a:ext cx="360041" cy="360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>
            <a:hlinkClick r:id="rId14"/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90" t="38471" r="45789" b="25053"/>
          <a:stretch/>
        </p:blipFill>
        <p:spPr bwMode="auto">
          <a:xfrm>
            <a:off x="7382241" y="2061018"/>
            <a:ext cx="1520608" cy="883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TextBox 83"/>
          <p:cNvSpPr txBox="1"/>
          <p:nvPr/>
        </p:nvSpPr>
        <p:spPr>
          <a:xfrm>
            <a:off x="793791" y="4419175"/>
            <a:ext cx="1593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ЯРИС </a:t>
            </a:r>
          </a:p>
          <a:p>
            <a:pPr algn="ctr"/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7"/>
              </a:rPr>
              <a:t>Развлекательный центр 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015709" y="3339272"/>
            <a:ext cx="13665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8"/>
              </a:rPr>
              <a:t>Праздник ледохода</a:t>
            </a:r>
          </a:p>
          <a:p>
            <a:pPr algn="ctr"/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8"/>
              </a:rPr>
              <a:t> «Первая волна</a:t>
            </a:r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8"/>
              </a:rPr>
              <a:t>»</a:t>
            </a:r>
            <a:endParaRPr lang="ru-RU" sz="1000" dirty="0" smtClean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МАЙ)</a:t>
            </a:r>
          </a:p>
        </p:txBody>
      </p:sp>
      <p:pic>
        <p:nvPicPr>
          <p:cNvPr id="8207" name="Picture 4">
            <a:hlinkClick r:id="rId3"/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70" t="17350" r="21974" b="44231"/>
          <a:stretch/>
        </p:blipFill>
        <p:spPr bwMode="auto">
          <a:xfrm>
            <a:off x="7382241" y="937798"/>
            <a:ext cx="1531290" cy="911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7400991" y="3127963"/>
            <a:ext cx="1476951" cy="894893"/>
            <a:chOff x="7999260" y="3291061"/>
            <a:chExt cx="1001696" cy="548675"/>
          </a:xfrm>
        </p:grpSpPr>
        <p:pic>
          <p:nvPicPr>
            <p:cNvPr id="32" name="Picture 6">
              <a:hlinkClick r:id="rId18"/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123" t="17500" r="18959" b="44010"/>
            <a:stretch/>
          </p:blipFill>
          <p:spPr bwMode="auto">
            <a:xfrm>
              <a:off x="7999260" y="3291061"/>
              <a:ext cx="1001696" cy="548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5" name="Picture 7" descr="C:\Users\e.markova\Desktop\РЕЗЮМЕ\фото\play-button.png">
              <a:hlinkClick r:id="rId21"/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8403" y="3520740"/>
              <a:ext cx="164487" cy="1531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Группа 10"/>
          <p:cNvGrpSpPr/>
          <p:nvPr/>
        </p:nvGrpSpPr>
        <p:grpSpPr>
          <a:xfrm>
            <a:off x="7429280" y="4190181"/>
            <a:ext cx="1484259" cy="788326"/>
            <a:chOff x="7438718" y="4190179"/>
            <a:chExt cx="1474813" cy="788326"/>
          </a:xfrm>
        </p:grpSpPr>
        <p:pic>
          <p:nvPicPr>
            <p:cNvPr id="27658" name="Picture 10">
              <a:hlinkClick r:id="rId23"/>
            </p:cNvPr>
            <p:cNvPicPr>
              <a:picLocks noChangeAspect="1"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58" t="14001" r="9583" b="16333"/>
            <a:stretch/>
          </p:blipFill>
          <p:spPr bwMode="auto">
            <a:xfrm>
              <a:off x="7438718" y="4190179"/>
              <a:ext cx="1474813" cy="788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6" name="Picture 7" descr="C:\Users\e.markova\Desktop\РЕЗЮМЕ\фото\play-button.png">
              <a:hlinkClick r:id="rId21"/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9333" y="4454939"/>
              <a:ext cx="240985" cy="242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9" descr="C:\Users\e.markova\Desktop\РЕЗЮМЕ\фото\qr-code-10ddd6288c8ebd8cf2619aa5420ffbd8.png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2939" y="4454939"/>
              <a:ext cx="499555" cy="4995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Группа 17"/>
          <p:cNvGrpSpPr/>
          <p:nvPr/>
        </p:nvGrpSpPr>
        <p:grpSpPr>
          <a:xfrm>
            <a:off x="6166693" y="4353282"/>
            <a:ext cx="1034507" cy="670560"/>
            <a:chOff x="6205233" y="4353286"/>
            <a:chExt cx="1034507" cy="670559"/>
          </a:xfrm>
        </p:grpSpPr>
        <p:pic>
          <p:nvPicPr>
            <p:cNvPr id="34" name="Picture 8" descr="C:\Users\e.markova\Desktop\РЕЗЮМЕ\фото\Screenshot_20210520-162742_Chrome.jpg">
              <a:hlinkClick r:id="rId23"/>
            </p:cNvPr>
            <p:cNvPicPr>
              <a:picLocks noChangeAspect="1" noChangeArrowheads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23" t="37647" r="38209" b="53726"/>
            <a:stretch/>
          </p:blipFill>
          <p:spPr bwMode="auto">
            <a:xfrm>
              <a:off x="6205233" y="4353286"/>
              <a:ext cx="1034507" cy="435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Прямоугольник 16"/>
            <p:cNvSpPr/>
            <p:nvPr/>
          </p:nvSpPr>
          <p:spPr>
            <a:xfrm>
              <a:off x="6292721" y="4777624"/>
              <a:ext cx="85953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СЕНТЯБРЬ)</a:t>
              </a:r>
              <a:endParaRPr lang="ru-RU" sz="1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20" name="Рисунок 19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990" y="3468341"/>
            <a:ext cx="537141" cy="52174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563" y="2364407"/>
            <a:ext cx="567995" cy="54746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419" y="1311317"/>
            <a:ext cx="554011" cy="512913"/>
          </a:xfrm>
          <a:prstGeom prst="rect">
            <a:avLst/>
          </a:prstGeom>
        </p:spPr>
      </p:pic>
      <p:grpSp>
        <p:nvGrpSpPr>
          <p:cNvPr id="65" name="Группа 64"/>
          <p:cNvGrpSpPr/>
          <p:nvPr/>
        </p:nvGrpSpPr>
        <p:grpSpPr>
          <a:xfrm>
            <a:off x="2" y="0"/>
            <a:ext cx="9143999" cy="271642"/>
            <a:chOff x="-12794" y="-2074"/>
            <a:chExt cx="6876256" cy="271642"/>
          </a:xfrm>
        </p:grpSpPr>
        <p:sp>
          <p:nvSpPr>
            <p:cNvPr id="67" name="Прямоугольник 66"/>
            <p:cNvSpPr/>
            <p:nvPr/>
          </p:nvSpPr>
          <p:spPr>
            <a:xfrm>
              <a:off x="2295358" y="-2073"/>
              <a:ext cx="2281009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-12794" y="-2074"/>
              <a:ext cx="2311204" cy="27164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4576367" y="0"/>
              <a:ext cx="2287095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483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Прямоугольник 60"/>
          <p:cNvSpPr/>
          <p:nvPr/>
        </p:nvSpPr>
        <p:spPr>
          <a:xfrm>
            <a:off x="-6869" y="267494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ЛЕХАРД – ГОРОД СПОРТА И АКТИВНОГО ОТДЫХА</a:t>
            </a:r>
            <a:endParaRPr lang="ru-RU" sz="1600" b="1" dirty="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7580" y="676338"/>
            <a:ext cx="30063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Центр единоборств «Северный характер»</a:t>
            </a:r>
            <a:endParaRPr lang="ru-RU" sz="9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58901" y="2060589"/>
            <a:ext cx="232388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Центр культуры и спорта «Геолог»</a:t>
            </a:r>
            <a:endParaRPr lang="ru-RU" sz="9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1" name="Picture 7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021" t="22485" r="46946" b="62741"/>
          <a:stretch/>
        </p:blipFill>
        <p:spPr bwMode="auto">
          <a:xfrm>
            <a:off x="263241" y="2097876"/>
            <a:ext cx="324851" cy="42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8" descr="C:\Users\e.markova\Desktop\РЕЗЮМЕ\фото\логотипы\QjJhezn73vM.jp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13" y="708716"/>
            <a:ext cx="498691" cy="498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90" t="48871" r="20948" b="19535"/>
          <a:stretch/>
        </p:blipFill>
        <p:spPr bwMode="auto">
          <a:xfrm>
            <a:off x="662928" y="3709819"/>
            <a:ext cx="1801337" cy="128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4877720" y="784064"/>
            <a:ext cx="0" cy="4111075"/>
          </a:xfrm>
          <a:prstGeom prst="line">
            <a:avLst/>
          </a:prstGeom>
          <a:ln>
            <a:solidFill>
              <a:srgbClr val="128EC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682" name="Picture 10" descr="C:\Users\e.markova\Desktop\РЕЗЮМЕ\фото\сплав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4913" y="936630"/>
            <a:ext cx="1766139" cy="1123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5037840" y="3483157"/>
            <a:ext cx="2142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окрестностях Салехарда доступны: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овля щуки, налима, карася, окуня, ерша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хота на водоплавающую дичь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7084548" y="3363106"/>
            <a:ext cx="1998930" cy="673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1"/>
          <a:lstStyle/>
          <a:p>
            <a:r>
              <a:rPr lang="ru-RU" sz="6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десь нет клещей и экологически чистый лес!</a:t>
            </a:r>
          </a:p>
          <a:p>
            <a:r>
              <a:rPr lang="ru-RU" sz="6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жно безопасно собирать бруснику, голубику, чернику и морошку, подосиновики, подберезовики и белые грибы</a:t>
            </a:r>
          </a:p>
        </p:txBody>
      </p:sp>
      <p:pic>
        <p:nvPicPr>
          <p:cNvPr id="38" name="Picture 3" descr="C:\Users\e.markova\Desktop\РЕЗЮМЕ\фото\дары осени Ямала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078" y="2280392"/>
            <a:ext cx="1911148" cy="1160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0" name="Picture 2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085" y="930303"/>
            <a:ext cx="1909839" cy="1130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5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45" t="22572" r="43244" b="62140"/>
          <a:stretch/>
        </p:blipFill>
        <p:spPr bwMode="auto">
          <a:xfrm>
            <a:off x="5674995" y="4033143"/>
            <a:ext cx="644788" cy="603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81" t="22887" r="33631" b="64952"/>
          <a:stretch/>
        </p:blipFill>
        <p:spPr bwMode="auto">
          <a:xfrm>
            <a:off x="5120571" y="4007962"/>
            <a:ext cx="588033" cy="526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5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36" t="51009" r="43897" b="36555"/>
          <a:stretch/>
        </p:blipFill>
        <p:spPr bwMode="auto">
          <a:xfrm>
            <a:off x="6338882" y="4071534"/>
            <a:ext cx="607516" cy="526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5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313" t="78425" r="43565" b="8318"/>
          <a:stretch/>
        </p:blipFill>
        <p:spPr bwMode="auto">
          <a:xfrm>
            <a:off x="6321024" y="958062"/>
            <a:ext cx="512564" cy="465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5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60" t="38078" r="44193" b="50006"/>
          <a:stretch/>
        </p:blipFill>
        <p:spPr bwMode="auto">
          <a:xfrm>
            <a:off x="8461181" y="949790"/>
            <a:ext cx="497779" cy="47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TextBox 75"/>
          <p:cNvSpPr txBox="1"/>
          <p:nvPr/>
        </p:nvSpPr>
        <p:spPr>
          <a:xfrm>
            <a:off x="588092" y="3483157"/>
            <a:ext cx="13238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8"/>
              </a:rPr>
              <a:t>Ледовый дворец</a:t>
            </a:r>
            <a:endParaRPr lang="ru-RU" sz="9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7654" name="Picture 6" descr="C:\Users\e.markova\Desktop\РЕЗЮМЕ\фото\логотипы\ледовый.png"/>
          <p:cNvPicPr>
            <a:picLocks noChangeAspect="1" noChangeArrowheads="1"/>
          </p:cNvPicPr>
          <p:nvPr/>
        </p:nvPicPr>
        <p:blipFill>
          <a:blip r:embed="rId19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49" y="3433698"/>
            <a:ext cx="295661" cy="384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2831762" y="3719187"/>
            <a:ext cx="1813272" cy="1269223"/>
            <a:chOff x="2944007" y="3175942"/>
            <a:chExt cx="1906223" cy="1287956"/>
          </a:xfrm>
        </p:grpSpPr>
        <p:pic>
          <p:nvPicPr>
            <p:cNvPr id="28679" name="Picture 7"/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03" t="28670" r="24403" b="43012"/>
            <a:stretch/>
          </p:blipFill>
          <p:spPr bwMode="auto">
            <a:xfrm>
              <a:off x="2944007" y="3175942"/>
              <a:ext cx="1906223" cy="12879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TextBox 77"/>
            <p:cNvSpPr txBox="1"/>
            <p:nvPr/>
          </p:nvSpPr>
          <p:spPr>
            <a:xfrm>
              <a:off x="2978341" y="4147285"/>
              <a:ext cx="1009837" cy="28108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Хоккей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Фигурное катание 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2851527" y="2301516"/>
            <a:ext cx="1820411" cy="1150655"/>
            <a:chOff x="2881042" y="1920013"/>
            <a:chExt cx="1820411" cy="1150655"/>
          </a:xfrm>
        </p:grpSpPr>
        <p:pic>
          <p:nvPicPr>
            <p:cNvPr id="28675" name="Picture 3" descr="C:\Users\EDE2D~1.MAR\AppData\Local\Temp\Rar$DRa4888.48738\для Некрасова\Геолог\Геолог 1.jpg"/>
            <p:cNvPicPr>
              <a:picLocks noChangeAspect="1" noChangeArrowheads="1"/>
            </p:cNvPicPr>
            <p:nvPr/>
          </p:nvPicPr>
          <p:blipFill rotWithShape="1"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76"/>
            <a:stretch/>
          </p:blipFill>
          <p:spPr bwMode="auto">
            <a:xfrm>
              <a:off x="2881042" y="1920013"/>
              <a:ext cx="1820411" cy="11506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5" name="TextBox 74"/>
            <p:cNvSpPr txBox="1"/>
            <p:nvPr/>
          </p:nvSpPr>
          <p:spPr>
            <a:xfrm>
              <a:off x="2912304" y="2772549"/>
              <a:ext cx="1113149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171450" indent="-171450">
                <a:buFont typeface="Arial" panose="020B0604020202020204" pitchFamily="34" charset="0"/>
                <a:buChar char="•"/>
                <a:defRPr sz="600" b="1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90488" indent="-90488"/>
              <a:r>
                <a:rPr lang="ru-RU" dirty="0"/>
                <a:t>Игровые виды спорта</a:t>
              </a:r>
            </a:p>
            <a:p>
              <a:pPr marL="90488" indent="-90488"/>
              <a:r>
                <a:rPr lang="ru-RU" dirty="0"/>
                <a:t>Большой теннис 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49191" y="2280396"/>
            <a:ext cx="1820064" cy="1150655"/>
            <a:chOff x="621982" y="1715687"/>
            <a:chExt cx="1689413" cy="1031466"/>
          </a:xfrm>
        </p:grpSpPr>
        <p:pic>
          <p:nvPicPr>
            <p:cNvPr id="28676" name="Picture 4" descr="C:\Users\e.markova\Desktop\РЕЗЮМЕ\фото\бассейн 2.jpeg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982" y="1715687"/>
              <a:ext cx="1689413" cy="1031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Box 48"/>
            <p:cNvSpPr txBox="1"/>
            <p:nvPr/>
          </p:nvSpPr>
          <p:spPr>
            <a:xfrm>
              <a:off x="642952" y="2545933"/>
              <a:ext cx="686308" cy="16553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171450" indent="-171450">
                <a:buFont typeface="Arial" panose="020B0604020202020204" pitchFamily="34" charset="0"/>
                <a:buChar char="•"/>
                <a:defRPr sz="600" b="1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90488" indent="-90488"/>
              <a:r>
                <a:rPr lang="ru-RU" dirty="0"/>
                <a:t>Бассейн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8503398" y="2302744"/>
            <a:ext cx="448782" cy="401953"/>
            <a:chOff x="6471513" y="4375015"/>
            <a:chExt cx="456975" cy="394737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6471513" y="4375015"/>
              <a:ext cx="456975" cy="3947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3794" name="Picture 2" descr="C:\Users\e.markova\Desktop\ГИД по переезду\картинки\forest.png"/>
            <p:cNvPicPr>
              <a:picLocks noChangeAspect="1" noChangeArrowheads="1"/>
            </p:cNvPicPr>
            <p:nvPr/>
          </p:nvPicPr>
          <p:blipFill>
            <a:blip r:embed="rId2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7424" y="4382423"/>
              <a:ext cx="229554" cy="229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Прямоугольник 52">
              <a:hlinkClick r:id="rId26"/>
            </p:cNvPr>
            <p:cNvSpPr/>
            <p:nvPr/>
          </p:nvSpPr>
          <p:spPr>
            <a:xfrm>
              <a:off x="6545220" y="4618626"/>
              <a:ext cx="335493" cy="15112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sz="5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рибы </a:t>
              </a:r>
            </a:p>
            <a:p>
              <a:pPr algn="ctr"/>
              <a:r>
                <a:rPr lang="ru-RU" sz="5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 ягоды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8261916" y="4052164"/>
            <a:ext cx="662361" cy="475650"/>
            <a:chOff x="8271946" y="4298346"/>
            <a:chExt cx="662361" cy="475650"/>
          </a:xfrm>
        </p:grpSpPr>
        <p:sp>
          <p:nvSpPr>
            <p:cNvPr id="4" name="Прямоугольник 3">
              <a:hlinkClick r:id="rId26"/>
            </p:cNvPr>
            <p:cNvSpPr/>
            <p:nvPr/>
          </p:nvSpPr>
          <p:spPr>
            <a:xfrm>
              <a:off x="8271946" y="4589330"/>
              <a:ext cx="662361" cy="1846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" b="1" dirty="0" err="1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ноукайтинг</a:t>
              </a:r>
              <a:endParaRPr lang="ru-RU" sz="600" b="1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3795" name="Picture 3" descr="C:\Users\e.markova\Desktop\ГИД по переезду\картинки\37865.png"/>
            <p:cNvPicPr>
              <a:picLocks noChangeAspect="1" noChangeArrowheads="1"/>
            </p:cNvPicPr>
            <p:nvPr/>
          </p:nvPicPr>
          <p:blipFill>
            <a:blip r:embed="rId2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4516" y="4298346"/>
              <a:ext cx="315888" cy="315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Группа 10"/>
          <p:cNvGrpSpPr/>
          <p:nvPr/>
        </p:nvGrpSpPr>
        <p:grpSpPr>
          <a:xfrm>
            <a:off x="7658440" y="4131281"/>
            <a:ext cx="556563" cy="403315"/>
            <a:chOff x="7696035" y="4380519"/>
            <a:chExt cx="556563" cy="403315"/>
          </a:xfrm>
        </p:grpSpPr>
        <p:pic>
          <p:nvPicPr>
            <p:cNvPr id="33796" name="Picture 4" descr="C:\Users\e.markova\Desktop\ГИД по переезду\картинки\38491.png"/>
            <p:cNvPicPr>
              <a:picLocks noChangeAspect="1" noChangeArrowheads="1"/>
            </p:cNvPicPr>
            <p:nvPr/>
          </p:nvPicPr>
          <p:blipFill>
            <a:blip r:embed="rId2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0757" y="4380519"/>
              <a:ext cx="251930" cy="251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Прямоугольник 62">
              <a:hlinkClick r:id="rId26"/>
            </p:cNvPr>
            <p:cNvSpPr/>
            <p:nvPr/>
          </p:nvSpPr>
          <p:spPr>
            <a:xfrm>
              <a:off x="7696035" y="4599168"/>
              <a:ext cx="556563" cy="1846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ноуборд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7084548" y="4114846"/>
            <a:ext cx="417102" cy="415748"/>
            <a:chOff x="7280486" y="4358248"/>
            <a:chExt cx="417102" cy="415748"/>
          </a:xfrm>
        </p:grpSpPr>
        <p:pic>
          <p:nvPicPr>
            <p:cNvPr id="33797" name="Picture 5" descr="C:\Users\e.markova\Desktop\ГИД по переезду\картинки\94150.png"/>
            <p:cNvPicPr>
              <a:picLocks noChangeAspect="1" noChangeArrowheads="1"/>
            </p:cNvPicPr>
            <p:nvPr/>
          </p:nvPicPr>
          <p:blipFill>
            <a:blip r:embed="rId2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9942" y="4358248"/>
              <a:ext cx="238190" cy="238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Прямоугольник 63">
              <a:hlinkClick r:id="rId26"/>
            </p:cNvPr>
            <p:cNvSpPr/>
            <p:nvPr/>
          </p:nvSpPr>
          <p:spPr>
            <a:xfrm>
              <a:off x="7280486" y="4589330"/>
              <a:ext cx="417102" cy="1846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Лыжи</a:t>
              </a: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5084913" y="2280392"/>
            <a:ext cx="1776803" cy="1174134"/>
            <a:chOff x="5084903" y="2169356"/>
            <a:chExt cx="1827671" cy="1157640"/>
          </a:xfrm>
        </p:grpSpPr>
        <p:pic>
          <p:nvPicPr>
            <p:cNvPr id="33801" name="Picture 9" descr="C:\Users\e.markova\Desktop\ГИД по переезду\картинки\1IMG_4438-logo.jpg"/>
            <p:cNvPicPr>
              <a:picLocks noChangeAspect="1" noChangeArrowheads="1"/>
            </p:cNvPicPr>
            <p:nvPr/>
          </p:nvPicPr>
          <p:blipFill rotWithShape="1"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08" t="11616" r="23653" b="5624"/>
            <a:stretch/>
          </p:blipFill>
          <p:spPr bwMode="auto">
            <a:xfrm>
              <a:off x="5084903" y="2179428"/>
              <a:ext cx="936152" cy="1143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802" name="Picture 10" descr="C:\Users\e.markova\Desktop\ГИД по переезду\картинки\72074_big - копия.jpg"/>
            <p:cNvPicPr>
              <a:picLocks noChangeAspect="1" noChangeArrowheads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280" t="-867" r="28946" b="867"/>
            <a:stretch/>
          </p:blipFill>
          <p:spPr bwMode="auto">
            <a:xfrm>
              <a:off x="6013253" y="2169356"/>
              <a:ext cx="899321" cy="11535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Прямая соединительная линия 15"/>
            <p:cNvCxnSpPr/>
            <p:nvPr/>
          </p:nvCxnSpPr>
          <p:spPr>
            <a:xfrm>
              <a:off x="6002287" y="2179426"/>
              <a:ext cx="10966" cy="1147570"/>
            </a:xfrm>
            <a:prstGeom prst="line">
              <a:avLst/>
            </a:prstGeom>
            <a:ln w="1905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Группа 12"/>
          <p:cNvGrpSpPr/>
          <p:nvPr/>
        </p:nvGrpSpPr>
        <p:grpSpPr>
          <a:xfrm>
            <a:off x="6400635" y="2290612"/>
            <a:ext cx="448782" cy="421919"/>
            <a:chOff x="6609910" y="2179428"/>
            <a:chExt cx="448782" cy="421919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6609910" y="2193418"/>
              <a:ext cx="448782" cy="4019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3798" name="Picture 6" descr="C:\Users\e.markova\Desktop\ГИД по переезду\картинки\92012.png"/>
            <p:cNvPicPr>
              <a:picLocks noChangeAspect="1" noChangeArrowheads="1"/>
            </p:cNvPicPr>
            <p:nvPr/>
          </p:nvPicPr>
          <p:blipFill>
            <a:blip r:embed="rId3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7821" y="2179428"/>
              <a:ext cx="215274" cy="158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800" name="Picture 8" descr="C:\Users\e.markova\Desktop\ГИД по переезду\картинки\974979-200.png"/>
            <p:cNvPicPr>
              <a:picLocks noChangeAspect="1" noChangeArrowheads="1"/>
            </p:cNvPicPr>
            <p:nvPr/>
          </p:nvPicPr>
          <p:blipFill rotWithShape="1">
            <a:blip r:embed="rId3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787" b="34446"/>
            <a:stretch/>
          </p:blipFill>
          <p:spPr bwMode="auto">
            <a:xfrm>
              <a:off x="6684607" y="2311917"/>
              <a:ext cx="281702" cy="137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Прямоугольник 64">
              <a:hlinkClick r:id="rId26"/>
            </p:cNvPr>
            <p:cNvSpPr/>
            <p:nvPr/>
          </p:nvSpPr>
          <p:spPr>
            <a:xfrm>
              <a:off x="6684607" y="2447459"/>
              <a:ext cx="353761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sz="5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хота и </a:t>
              </a:r>
            </a:p>
            <a:p>
              <a:pPr algn="ctr"/>
              <a:r>
                <a:rPr lang="ru-RU" sz="5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ыбалка</a:t>
              </a: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640902" y="930307"/>
            <a:ext cx="1823362" cy="1057825"/>
            <a:chOff x="640902" y="930303"/>
            <a:chExt cx="1823362" cy="1057825"/>
          </a:xfrm>
        </p:grpSpPr>
        <p:pic>
          <p:nvPicPr>
            <p:cNvPr id="33803" name="Picture 11" descr="C:\Users\EDE2D~1.MAR\AppData\Local\Temp\Rar$DIa6336.45980\Северный характер 2.jpg"/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902" y="930303"/>
              <a:ext cx="1823362" cy="1057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Прямоугольник 14"/>
            <p:cNvSpPr/>
            <p:nvPr/>
          </p:nvSpPr>
          <p:spPr>
            <a:xfrm>
              <a:off x="662927" y="1603025"/>
              <a:ext cx="102875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Фитнес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Тренажёрный зал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ru-RU" sz="600" b="1" dirty="0" err="1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россфит</a:t>
              </a: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и </a:t>
              </a:r>
              <a:r>
                <a:rPr lang="ru-RU" sz="600" b="1" dirty="0" err="1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оркаут</a:t>
              </a:r>
              <a:endParaRPr lang="ru-RU" sz="600" b="1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2915816" y="936629"/>
            <a:ext cx="1756120" cy="1080120"/>
            <a:chOff x="2915816" y="936629"/>
            <a:chExt cx="1756120" cy="1080120"/>
          </a:xfrm>
        </p:grpSpPr>
        <p:pic>
          <p:nvPicPr>
            <p:cNvPr id="33804" name="Picture 12" descr="C:\Users\EDE2D~1.MAR\AppData\Local\Temp\Rar$DIa6336.9366\image-14-02-20-04-46-7.jpeg"/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5816" y="936629"/>
              <a:ext cx="1756120" cy="1080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Прямоугольник 78"/>
            <p:cNvSpPr/>
            <p:nvPr/>
          </p:nvSpPr>
          <p:spPr>
            <a:xfrm>
              <a:off x="2948561" y="1625033"/>
              <a:ext cx="813169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Единоборства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Бокс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ru-RU" sz="600" b="1" dirty="0">
                  <a:solidFill>
                    <a:srgbClr val="128EC6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Борьба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2" y="0"/>
            <a:ext cx="9143999" cy="271642"/>
            <a:chOff x="-12794" y="-2074"/>
            <a:chExt cx="6876256" cy="271642"/>
          </a:xfrm>
        </p:grpSpPr>
        <p:sp>
          <p:nvSpPr>
            <p:cNvPr id="68" name="Прямоугольник 67"/>
            <p:cNvSpPr/>
            <p:nvPr/>
          </p:nvSpPr>
          <p:spPr>
            <a:xfrm>
              <a:off x="2295358" y="-2073"/>
              <a:ext cx="2281009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-12794" y="-2074"/>
              <a:ext cx="2311204" cy="27164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4576367" y="0"/>
              <a:ext cx="2287095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477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77134" y="2028243"/>
            <a:ext cx="8902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газины</a:t>
            </a:r>
            <a:endParaRPr lang="ru-RU" sz="1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hlinkClick r:id="rId3"/>
            </a:endParaRPr>
          </a:p>
        </p:txBody>
      </p:sp>
      <p:pic>
        <p:nvPicPr>
          <p:cNvPr id="9218" name="Picture 2" descr="C:\Users\e.markova\Desktop\РЕЗЮМЕ\фото\логотипы\Остин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89" y="3466929"/>
            <a:ext cx="624036" cy="235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490397" y="2019038"/>
            <a:ext cx="14588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фе</a:t>
            </a:r>
            <a:endParaRPr lang="ru-RU" sz="900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194" name="Picture 2" descr="C:\Users\e.markova\Desktop\РЕЗЮМЕ\фото\логотипы\мвидео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86" b="33571"/>
          <a:stretch/>
        </p:blipFill>
        <p:spPr bwMode="auto">
          <a:xfrm>
            <a:off x="1752811" y="3741335"/>
            <a:ext cx="841687" cy="290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e.markova\Desktop\РЕЗЮМЕ\фото\логотипы\днс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2218" y="4274568"/>
            <a:ext cx="476862" cy="15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C:\Users\e.markova\Desktop\РЕЗЮМЕ\фото\логотипы\эльдо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23" b="18794"/>
          <a:stretch/>
        </p:blipFill>
        <p:spPr bwMode="auto">
          <a:xfrm>
            <a:off x="1722326" y="4037585"/>
            <a:ext cx="906607" cy="21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7" name="Picture 5" descr="C:\Users\e.markova\Desktop\РЕЗЮМЕ\фото\логотипы\детский мир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73" b="30593"/>
          <a:stretch/>
        </p:blipFill>
        <p:spPr bwMode="auto">
          <a:xfrm>
            <a:off x="386810" y="2497517"/>
            <a:ext cx="731753" cy="28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9" name="Picture 7" descr="C:\Users\e.markova\Desktop\РЕЗЮМЕ\фото\логотипы\кари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78" b="29990"/>
          <a:stretch/>
        </p:blipFill>
        <p:spPr bwMode="auto">
          <a:xfrm>
            <a:off x="369908" y="2845037"/>
            <a:ext cx="494045" cy="195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8" descr="C:\Users\e.markova\Desktop\РЕЗЮМЕ\фото\логотипы\кари к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42" t="20042" r="16971" b="23682"/>
          <a:stretch/>
        </p:blipFill>
        <p:spPr bwMode="auto">
          <a:xfrm>
            <a:off x="391929" y="3088366"/>
            <a:ext cx="390097" cy="334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1" name="Picture 9" descr="C:\Users\e.markova\Desktop\РЕЗЮМЕ\фото\логотипы\глория.pn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17" b="38305"/>
          <a:stretch/>
        </p:blipFill>
        <p:spPr bwMode="auto">
          <a:xfrm>
            <a:off x="366074" y="4044599"/>
            <a:ext cx="974714" cy="215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2" name="Picture 10" descr="C:\Users\e.markova\Desktop\РЕЗЮМЕ\фото\логотипы\logo-letoile.jpg.crdownload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829" y="2711138"/>
            <a:ext cx="793520" cy="269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3" name="Picture 11" descr="C:\Users\e.markova\Desktop\РЕЗЮМЕ\фото\логотипы\фикс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3660" y="2719027"/>
            <a:ext cx="783556" cy="270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4" name="Picture 12" descr="C:\Users\e.markova\Desktop\РЕЗЮМЕ\фото\логотипы\logo-sportmaster.png.crdownloa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10" y="4324556"/>
            <a:ext cx="936685" cy="14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5" name="Picture 13" descr="C:\Users\e.markova\Desktop\РЕЗЮМЕ\фото\логотипы\кб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2213" y="3024687"/>
            <a:ext cx="756472" cy="231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6" name="Picture 14" descr="C:\Users\e.markova\Desktop\РЕЗЮМЕ\фото\логотипы\5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2371" y="2476379"/>
            <a:ext cx="1015913" cy="240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7" name="Picture 15" descr="C:\Users\e.markova\Desktop\РЕЗЮМЕ\фото\логотипы\585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854" y="3037975"/>
            <a:ext cx="878310" cy="170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8" name="Picture 16" descr="C:\Users\e.markova\Desktop\РЕЗЮМЕ\фото\логотипы\wild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860" y="2468567"/>
            <a:ext cx="772741" cy="22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9" name="Picture 17" descr="C:\Users\e.markova\Desktop\РЕЗЮМЕ\фото\логотипы\додо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7508" y="2388737"/>
            <a:ext cx="703847" cy="31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0" name="Picture 18" descr="C:\Users\e.markova\Desktop\РЕЗЮМЕ\фото\логотипы\Без названия (2)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7325" y="2956460"/>
            <a:ext cx="409683" cy="409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1" name="Picture 19" descr="C:\Users\e.markova\Desktop\РЕЗЮМЕ\фото\логотипы\Без названия (1).png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9" t="34645" r="13007" b="36859"/>
          <a:stretch/>
        </p:blipFill>
        <p:spPr bwMode="auto">
          <a:xfrm>
            <a:off x="4461813" y="2693545"/>
            <a:ext cx="705325" cy="26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395395" y="339502"/>
            <a:ext cx="38583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АЛЕХАРД – СОВРЕМЕННЫЙ ГОРОД</a:t>
            </a:r>
          </a:p>
        </p:txBody>
      </p:sp>
      <p:pic>
        <p:nvPicPr>
          <p:cNvPr id="8212" name="Picture 20" descr="C:\Users\e.markova\Desktop\РЕЗЮМЕ\фото\логотипы\33.png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8" t="8128" r="6736" b="12562"/>
          <a:stretch/>
        </p:blipFill>
        <p:spPr bwMode="auto">
          <a:xfrm>
            <a:off x="4615027" y="2968930"/>
            <a:ext cx="531982" cy="490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054967" y="4299946"/>
            <a:ext cx="13217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 открытие</a:t>
            </a:r>
          </a:p>
        </p:txBody>
      </p:sp>
      <p:pic>
        <p:nvPicPr>
          <p:cNvPr id="12290" name="Picture 2" descr="C:\Users\e.markova\Desktop\РЕЗЮМЕ\фото\логотипы\санлайт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829" y="3262278"/>
            <a:ext cx="744570" cy="21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1" name="Picture 3" descr="C:\Users\e.markova\Desktop\РЕЗЮМЕ\фото\логотипы\магнит.jpg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31" b="40064"/>
          <a:stretch/>
        </p:blipFill>
        <p:spPr bwMode="auto">
          <a:xfrm>
            <a:off x="3124230" y="3318541"/>
            <a:ext cx="864096" cy="17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3" name="Picture 5" descr="C:\Users\e.markova\Desktop\РЕЗЮМЕ\фото\логотипы\Без названия (3)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2363" y="4659986"/>
            <a:ext cx="434366" cy="248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C:\Users\e.markova\Desktop\РЕЗЮМЕ\фото\логотипы\1280px-Magnit_Cosmetic_logo.svg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864" y="3526408"/>
            <a:ext cx="888552" cy="19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7532288" y="2028242"/>
            <a:ext cx="5612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кси</a:t>
            </a:r>
          </a:p>
        </p:txBody>
      </p:sp>
      <p:pic>
        <p:nvPicPr>
          <p:cNvPr id="12295" name="Picture 7" descr="C:\Users\e.markova\Desktop\РЕЗЮМЕ\фото\логотипы\ilpatio.jpg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3" t="32004" r="6834" b="32936"/>
          <a:stretch/>
        </p:blipFill>
        <p:spPr bwMode="auto">
          <a:xfrm>
            <a:off x="4798988" y="4175895"/>
            <a:ext cx="736291" cy="15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7" name="Picture 9" descr="C:\Users\e.markova\Desktop\РЕЗЮМЕ\фото\логотипы\avtoliga.jpg"/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33" b="36391"/>
          <a:stretch/>
        </p:blipFill>
        <p:spPr bwMode="auto">
          <a:xfrm>
            <a:off x="7650240" y="3054790"/>
            <a:ext cx="712919" cy="34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9" name="Picture 11" descr="C:\Users\e.markova\Desktop\РЕЗЮМЕ\фото\логотипы\ин драйвер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4544" y="2809211"/>
            <a:ext cx="751171" cy="215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e.markova\Desktop\РЕЗЮМЕ\фото\логотипы\Finn1.jpg"/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81" b="36405"/>
          <a:stretch/>
        </p:blipFill>
        <p:spPr bwMode="auto">
          <a:xfrm>
            <a:off x="398388" y="4585568"/>
            <a:ext cx="748288" cy="13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C:\Users\e.markova\Desktop\РЕЗЮМЕ\фото\логотипы\ps.png"/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37" t="35555" r="23055" b="36599"/>
          <a:stretch/>
        </p:blipFill>
        <p:spPr bwMode="auto">
          <a:xfrm>
            <a:off x="4848944" y="4399105"/>
            <a:ext cx="658117" cy="274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C:\Users\e.markova\Desktop\РЕЗЮМЕ\фото\логотипы\такси.jpg"/>
          <p:cNvPicPr>
            <a:picLocks noChangeAspect="1" noChangeArrowheads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6" t="14129" b="17778"/>
          <a:stretch/>
        </p:blipFill>
        <p:spPr bwMode="auto">
          <a:xfrm>
            <a:off x="7612791" y="2446753"/>
            <a:ext cx="1012730" cy="299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e.markova\Desktop\РЕЗЮМЕ\фото\логотипы\1200px-S.Oliver_Logo_2010.svg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29" y="3734345"/>
            <a:ext cx="670081" cy="242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 descr="C:\Users\e.markova\Desktop\РЕЗЮМЕ\фото\логотипы\33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1809" y="3366143"/>
            <a:ext cx="527196" cy="249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3" descr="C:\Users\e.markova\Desktop\РЕЗЮМЕ\фото\логотипы\938623.jp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2201" y="3472546"/>
            <a:ext cx="528001" cy="17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384241" y="750065"/>
            <a:ext cx="2598893" cy="8618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50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₽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изнес-ланч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00380" y="750065"/>
            <a:ext cx="2598893" cy="8618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10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₽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ашка капучино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6152617" y="743279"/>
            <a:ext cx="2611036" cy="8618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30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₽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ездка на такси</a:t>
            </a:r>
          </a:p>
        </p:txBody>
      </p:sp>
      <p:pic>
        <p:nvPicPr>
          <p:cNvPr id="15362" name="Picture 2" descr="C:\Users\e.markova\Desktop\РЕЗЮМЕ\фото\soup-plate.png"/>
          <p:cNvPicPr>
            <a:picLocks noChangeAspect="1" noChangeArrowheads="1"/>
          </p:cNvPicPr>
          <p:nvPr/>
        </p:nvPicPr>
        <p:blipFill>
          <a:blip r:embed="rId3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6774" y="1300533"/>
            <a:ext cx="277772" cy="2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C:\Users\e.markova\Desktop\РЕЗЮМЕ\фото\cafe.png"/>
          <p:cNvPicPr>
            <a:picLocks noChangeAspect="1" noChangeArrowheads="1"/>
          </p:cNvPicPr>
          <p:nvPr/>
        </p:nvPicPr>
        <p:blipFill>
          <a:blip r:embed="rId3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254" y="1218022"/>
            <a:ext cx="360282" cy="360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5" name="Picture 5" descr="C:\Users\e.markova\Desktop\РЕЗЮМЕ\фото\shashki-dlya-taksi.jpg"/>
          <p:cNvPicPr>
            <a:picLocks noChangeAspect="1" noChangeArrowheads="1"/>
          </p:cNvPicPr>
          <p:nvPr/>
        </p:nvPicPr>
        <p:blipFill>
          <a:blip r:embed="rId3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683" y="1322843"/>
            <a:ext cx="295487" cy="295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251520" y="2009498"/>
            <a:ext cx="85689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251520" y="2431139"/>
            <a:ext cx="0" cy="2442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V="1">
            <a:off x="251520" y="2329635"/>
            <a:ext cx="4104456" cy="103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4427984" y="2401071"/>
            <a:ext cx="0" cy="25239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 flipH="1">
            <a:off x="1619672" y="2426356"/>
            <a:ext cx="2" cy="245277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H="1">
            <a:off x="2992104" y="2415707"/>
            <a:ext cx="4280" cy="245793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 flipV="1">
            <a:off x="4517117" y="2324160"/>
            <a:ext cx="1251509" cy="10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6084168" y="2410591"/>
            <a:ext cx="0" cy="25239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 flipV="1">
            <a:off x="6084175" y="2305242"/>
            <a:ext cx="1234565" cy="680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 flipV="1">
            <a:off x="7532293" y="2305239"/>
            <a:ext cx="1336749" cy="103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7533912" y="2420916"/>
            <a:ext cx="0" cy="25033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517109" y="3755493"/>
            <a:ext cx="13217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 открытие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012160" y="2021158"/>
            <a:ext cx="5838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вязь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-12261645" y="190371"/>
            <a:ext cx="51481" cy="45719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4517109" y="3843386"/>
            <a:ext cx="1321772" cy="866377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216" name="Прямая соединительная линия 9215"/>
          <p:cNvCxnSpPr/>
          <p:nvPr/>
        </p:nvCxnSpPr>
        <p:spPr>
          <a:xfrm flipV="1">
            <a:off x="3124230" y="4515966"/>
            <a:ext cx="1159738" cy="398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V="1">
            <a:off x="4587264" y="4011912"/>
            <a:ext cx="1159738" cy="398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602" name="Picture 2" descr="C:\Users\e.markova\Desktop\РЕЗЮМЕ\фото\логотипы\1280px-Логотип_компании_«Связной».svg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2226" y="4483751"/>
            <a:ext cx="657065" cy="116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3" name="Picture 3" descr="C:\Users\e.markova\Desktop\РЕЗЮМЕ\фото\логотипы\Tele2_logo.svg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423" y="2435871"/>
            <a:ext cx="442590" cy="17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C:\Users\e.markova\Desktop\РЕЗЮМЕ\фото\логотипы\logo_megafon-2002.png"/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49" t="21521" r="29173" b="20441"/>
          <a:stretch/>
        </p:blipFill>
        <p:spPr bwMode="auto">
          <a:xfrm>
            <a:off x="6217423" y="2693544"/>
            <a:ext cx="481522" cy="405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5" name="Picture 5" descr="C:\Users\e.markova\Desktop\РЕЗЮМЕ\фото\логотипы\MTS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675" y="3114553"/>
            <a:ext cx="512642" cy="18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C:\Users\e.markova\Desktop\РЕЗЮМЕ\фото\логотипы\Логотип_компании_«Ростелеком»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4518" y="4124326"/>
            <a:ext cx="623690" cy="468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2" name="Прямая соединительная линия 91"/>
          <p:cNvCxnSpPr/>
          <p:nvPr/>
        </p:nvCxnSpPr>
        <p:spPr>
          <a:xfrm flipH="1">
            <a:off x="6161677" y="3898592"/>
            <a:ext cx="12552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607" name="Picture 7" descr="C:\Users\e.markova\Desktop\РЕЗЮМЕ\фото\логотипы\Motiv_logo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508" y="3611878"/>
            <a:ext cx="679677" cy="231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/>
          <p:cNvSpPr txBox="1"/>
          <p:nvPr/>
        </p:nvSpPr>
        <p:spPr>
          <a:xfrm>
            <a:off x="6217423" y="3913255"/>
            <a:ext cx="11901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тернет и ТВ</a:t>
            </a:r>
          </a:p>
        </p:txBody>
      </p:sp>
      <p:pic>
        <p:nvPicPr>
          <p:cNvPr id="25608" name="Picture 8" descr="C:\Users\e.markova\Desktop\РЕЗЮМЕ\фото\логотипы\9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512" y="3277370"/>
            <a:ext cx="623647" cy="363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70" name="Picture 2" descr="C:\Users\e.markova\Desktop\РЕЗЮМЕ\фото\логотипы\2551bda6c3766c751e3152ed6844078c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5838" y="2388736"/>
            <a:ext cx="813930" cy="502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513846" y="3491738"/>
            <a:ext cx="15167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 местные операторы такси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161679" y="4693291"/>
            <a:ext cx="13019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 местные провайдеры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3059840" y="4371954"/>
            <a:ext cx="1321731" cy="578761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872" y="3490546"/>
            <a:ext cx="754547" cy="502118"/>
          </a:xfrm>
          <a:prstGeom prst="rect">
            <a:avLst/>
          </a:prstGeom>
        </p:spPr>
      </p:pic>
      <p:grpSp>
        <p:nvGrpSpPr>
          <p:cNvPr id="96" name="Группа 95"/>
          <p:cNvGrpSpPr/>
          <p:nvPr/>
        </p:nvGrpSpPr>
        <p:grpSpPr>
          <a:xfrm>
            <a:off x="2" y="0"/>
            <a:ext cx="9143999" cy="271642"/>
            <a:chOff x="-12794" y="-2074"/>
            <a:chExt cx="6876256" cy="271642"/>
          </a:xfrm>
        </p:grpSpPr>
        <p:sp>
          <p:nvSpPr>
            <p:cNvPr id="97" name="Прямоугольник 96"/>
            <p:cNvSpPr/>
            <p:nvPr/>
          </p:nvSpPr>
          <p:spPr>
            <a:xfrm>
              <a:off x="2295358" y="-2073"/>
              <a:ext cx="2281009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-12794" y="-2074"/>
              <a:ext cx="2311204" cy="27164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4576367" y="0"/>
              <a:ext cx="2287095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6" name="Рисунок 15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8427" y="3872488"/>
            <a:ext cx="886574" cy="46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58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872808" y="339879"/>
            <a:ext cx="33993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АЛЕХАРД – ГОРОД ДЛЯ ДЕТЕЙ</a:t>
            </a:r>
          </a:p>
        </p:txBody>
      </p:sp>
      <p:sp>
        <p:nvSpPr>
          <p:cNvPr id="16" name="Объект 1"/>
          <p:cNvSpPr txBox="1">
            <a:spLocks/>
          </p:cNvSpPr>
          <p:nvPr/>
        </p:nvSpPr>
        <p:spPr>
          <a:xfrm>
            <a:off x="5311443" y="4376083"/>
            <a:ext cx="372780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/>
            </a:lvl1pPr>
          </a:lstStyle>
          <a:p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0%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 скидка на авиабилеты для детей до 12 лет на рейсах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авиакомпании «Ямал»</a:t>
            </a:r>
            <a:endParaRPr lang="ru-RU" sz="11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1806" y="1162020"/>
            <a:ext cx="263999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9 современных детских садов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 очеред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стройство ребенка в детский сад </a:t>
            </a:r>
            <a:b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нимает 2 недел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явка подается через портал:</a:t>
            </a:r>
            <a:b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http://e-uslugi.yanao.ru</a:t>
            </a: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0623" y="2783129"/>
            <a:ext cx="3937321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 школ и 3 учреждения дополнительного образования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стройство ребенка в школу занимает 2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ня</a:t>
            </a:r>
            <a:endParaRPr lang="ru-RU" sz="11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явка подается через портал</a:t>
            </a: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http://e-uslugi.yanao.ru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ли лично в приемную директора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нее значение баллов по данным международного исследования качества образования учащихся </a:t>
            </a:r>
            <a:r>
              <a:rPr lang="en-US" sz="1100" dirty="0">
                <a:gradFill flip="none" rotWithShape="1">
                  <a:gsLst>
                    <a:gs pos="0">
                      <a:srgbClr val="FF0000"/>
                    </a:gs>
                    <a:gs pos="45000">
                      <a:srgbClr val="FFFF00"/>
                    </a:gs>
                    <a:gs pos="20000">
                      <a:srgbClr val="FFC000"/>
                    </a:gs>
                    <a:gs pos="75000">
                      <a:srgbClr val="00B050"/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1"/>
                  <a:tileRect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ISA</a:t>
            </a: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алехарде выше, чем в среднем по России и по странам-членам ОЭСР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Ямал возглавил список лучших регионов России по интегральному индексу инфраструктуры образования*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57925" y="1153608"/>
            <a:ext cx="175972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/>
              </a:rPr>
              <a:t>Бесплатный отдых для детей </a:t>
            </a:r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счет региона в Болгарии, Крыму, Краснодарском крае и других регионах России</a:t>
            </a:r>
            <a:endParaRPr lang="ru-RU" sz="7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-305" y="4840877"/>
            <a:ext cx="459424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 Индекс формируется по результатам исследования, которое ежегодно проводит НИУ «Высшая школа экономики», корпорация «Российский учебник» и РИА «Новости». Оценивается качество инфраструктуры четырёх уровней образования: дошкольного, общего (школьного), среднего профессионального и дополнительного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H="1">
            <a:off x="5135523" y="1162024"/>
            <a:ext cx="203" cy="3837221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130624" y="2659864"/>
            <a:ext cx="4940902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5259104" y="2659864"/>
            <a:ext cx="3680087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5293094" y="4376079"/>
            <a:ext cx="3674234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5812294" y="682053"/>
            <a:ext cx="215706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дых и развитие дете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308071" y="699545"/>
            <a:ext cx="12931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rgbClr val="128EC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разование</a:t>
            </a:r>
            <a:endParaRPr lang="ru-RU" sz="1600" dirty="0">
              <a:solidFill>
                <a:srgbClr val="128EC6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31805" y="989826"/>
            <a:ext cx="49640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5223926" y="986963"/>
            <a:ext cx="38125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46" name="Picture 2" descr="C:\Users\e.markova\Desktop\ГИД по переезду\картинки\сад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1207263"/>
            <a:ext cx="2280602" cy="1283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C:\Users\e.markova\Desktop\РЕЗЮМЕ\фото\qr-code-sadiki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514" y="1917990"/>
            <a:ext cx="553888" cy="55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7" name="Picture 3" descr="C:\Users\e.markova\Desktop\ГИД по переезду\картинки\01032021_артрезид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4" t="6528" r="4248" b="134"/>
          <a:stretch/>
        </p:blipFill>
        <p:spPr bwMode="auto">
          <a:xfrm>
            <a:off x="5230047" y="2857890"/>
            <a:ext cx="2127878" cy="1306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524336" y="2767717"/>
            <a:ext cx="13615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9"/>
              </a:rPr>
              <a:t>АРТ-РЕЗИДЕНЦИЯ «ПОЛЯРИС» - уникальный молодежный проект</a:t>
            </a:r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endParaRPr lang="ru-RU" sz="10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вовать может каждый желающий</a:t>
            </a:r>
          </a:p>
        </p:txBody>
      </p:sp>
      <p:pic>
        <p:nvPicPr>
          <p:cNvPr id="31748" name="Picture 4" descr="C:\Users\e.markova\Desktop\ГИД по переезду\картинки\QR\арт резиденция.pn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4424" y="3579863"/>
            <a:ext cx="560085" cy="560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9" name="Picture 5" descr="C:\Users\e.markova\Desktop\ГИД по переезду\картинки\0d3a5b66-68a8-4d95-bb4c-de28a9dbb6a8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37"/>
          <a:stretch/>
        </p:blipFill>
        <p:spPr bwMode="auto">
          <a:xfrm>
            <a:off x="5186456" y="1207263"/>
            <a:ext cx="2171698" cy="1283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0" name="Picture 6" descr="C:\Users\e.markova\Desktop\ГИД по переезду\картинки\QR\лето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710" y="1917990"/>
            <a:ext cx="539506" cy="539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7" t="26917"/>
          <a:stretch/>
        </p:blipFill>
        <p:spPr>
          <a:xfrm>
            <a:off x="3986018" y="2679311"/>
            <a:ext cx="1124667" cy="97256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733" y="3255765"/>
            <a:ext cx="500997" cy="51045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0" r="14918"/>
          <a:stretch/>
        </p:blipFill>
        <p:spPr>
          <a:xfrm>
            <a:off x="3988119" y="3795890"/>
            <a:ext cx="1124667" cy="95108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99" y="4618592"/>
            <a:ext cx="514779" cy="511601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2" y="0"/>
            <a:ext cx="9143999" cy="271642"/>
            <a:chOff x="-12794" y="-2074"/>
            <a:chExt cx="6876256" cy="271642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2295358" y="-2073"/>
              <a:ext cx="2281009" cy="26749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словия жизни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-12794" y="-2074"/>
              <a:ext cx="2311204" cy="27164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география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4576367" y="0"/>
              <a:ext cx="2287095" cy="2674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cap="small" dirty="0" smtClean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арьера в образовании</a:t>
              </a:r>
              <a:endParaRPr lang="ru-RU" sz="1400" cap="small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5136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5.mxVrjSE2.E.nsjR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HomRQjVKZ8aClImR6K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u03e3zRNqz170AamR5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u03e3zRNqz170AamR5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HomRQjVKZ8aClImR6K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C2ctswOxS7BgiR6VJd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C2ctswOxS7BgiR6VJd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templat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5875">
          <a:solidFill>
            <a:schemeClr val="accent6">
              <a:lumMod val="5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>
            <a:latin typeface="Segoe UI" panose="020B0502040204020203" pitchFamily="34" charset="0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wide" id="{DD73C246-DC5E-4DA6-ABF3-A4E578746507}" vid="{C17FF687-B170-4E53-9FDA-120FBB4AA91D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629</TotalTime>
  <Words>1224</Words>
  <Application>Microsoft Office PowerPoint</Application>
  <PresentationFormat>Экран (16:9)</PresentationFormat>
  <Paragraphs>299</Paragraphs>
  <Slides>12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5" baseType="lpstr">
      <vt:lpstr>Воздушный поток</vt:lpstr>
      <vt:lpstr>Firm Format - template</vt:lpstr>
      <vt:lpstr>Слайд think-cell</vt:lpstr>
      <vt:lpstr>САЛЕХАРД – город,  где тебя ждут!</vt:lpstr>
      <vt:lpstr>Презентация PowerPoint</vt:lpstr>
      <vt:lpstr>САЛЕХАРД –  единственный в мире город на Полярном круг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ова Елена Викторовна</dc:creator>
  <cp:lastModifiedBy>user</cp:lastModifiedBy>
  <cp:revision>646</cp:revision>
  <cp:lastPrinted>2021-04-22T10:42:04Z</cp:lastPrinted>
  <dcterms:created xsi:type="dcterms:W3CDTF">2021-03-16T05:53:12Z</dcterms:created>
  <dcterms:modified xsi:type="dcterms:W3CDTF">2022-04-08T09:39:07Z</dcterms:modified>
</cp:coreProperties>
</file>